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2.xml" ContentType="application/vnd.openxmlformats-officedocument.presentationml.notesSlide+xml"/>
  <Override PartName="/ppt/tags/tag11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.xml" ContentType="application/vnd.openxmlformats-officedocument.drawingml.chart+xml"/>
  <Override PartName="/ppt/tags/tag13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3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1041" r:id="rId2"/>
    <p:sldId id="2145706225" r:id="rId3"/>
    <p:sldId id="2145706275" r:id="rId4"/>
    <p:sldId id="2145706248" r:id="rId5"/>
    <p:sldId id="2145706350" r:id="rId6"/>
    <p:sldId id="2145706326" r:id="rId7"/>
    <p:sldId id="2145706303" r:id="rId8"/>
    <p:sldId id="2145706352" r:id="rId9"/>
    <p:sldId id="2145706353" r:id="rId10"/>
    <p:sldId id="2145706354" r:id="rId11"/>
    <p:sldId id="2145706355" r:id="rId12"/>
    <p:sldId id="2145706356" r:id="rId13"/>
    <p:sldId id="2145706357" r:id="rId14"/>
    <p:sldId id="2145706358" r:id="rId15"/>
    <p:sldId id="2145706359" r:id="rId16"/>
    <p:sldId id="2145706360" r:id="rId17"/>
    <p:sldId id="2145706361" r:id="rId18"/>
    <p:sldId id="2145706325" r:id="rId19"/>
    <p:sldId id="2145706362" r:id="rId20"/>
    <p:sldId id="2145706363" r:id="rId21"/>
    <p:sldId id="2145706364" r:id="rId22"/>
    <p:sldId id="2145706365" r:id="rId23"/>
    <p:sldId id="2145706252" r:id="rId24"/>
    <p:sldId id="952" r:id="rId25"/>
    <p:sldId id="2145706281" r:id="rId26"/>
    <p:sldId id="2145706347" r:id="rId2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ABAB"/>
    <a:srgbClr val="272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E20934-90F0-4951-A04F-8F0925AC6572}" v="9" dt="2025-03-01T12:06:20.6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1695" autoAdjust="0"/>
  </p:normalViewPr>
  <p:slideViewPr>
    <p:cSldViewPr snapToGrid="0">
      <p:cViewPr varScale="1">
        <p:scale>
          <a:sx n="101" d="100"/>
          <a:sy n="101" d="100"/>
        </p:scale>
        <p:origin x="270" y="11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E2E" userId="487bc3e3-9ce7-4cdd-b7b4-8899ea88d289" providerId="ADAL" clId="{4EE20934-90F0-4951-A04F-8F0925AC6572}"/>
    <pc:docChg chg="undo custSel delSld modSld">
      <pc:chgData name="Graf Thomas, INI-NET-VNC-E2E" userId="487bc3e3-9ce7-4cdd-b7b4-8899ea88d289" providerId="ADAL" clId="{4EE20934-90F0-4951-A04F-8F0925AC6572}" dt="2025-03-01T12:15:01.050" v="265" actId="20577"/>
      <pc:docMkLst>
        <pc:docMk/>
      </pc:docMkLst>
      <pc:sldChg chg="delSp modSp mod">
        <pc:chgData name="Graf Thomas, INI-NET-VNC-E2E" userId="487bc3e3-9ce7-4cdd-b7b4-8899ea88d289" providerId="ADAL" clId="{4EE20934-90F0-4951-A04F-8F0925AC6572}" dt="2025-03-01T12:12:02.781" v="249" actId="255"/>
        <pc:sldMkLst>
          <pc:docMk/>
          <pc:sldMk cId="692774623" sldId="952"/>
        </pc:sldMkLst>
        <pc:spChg chg="del">
          <ac:chgData name="Graf Thomas, INI-NET-VNC-E2E" userId="487bc3e3-9ce7-4cdd-b7b4-8899ea88d289" providerId="ADAL" clId="{4EE20934-90F0-4951-A04F-8F0925AC6572}" dt="2025-03-01T12:06:24.290" v="231" actId="478"/>
          <ac:spMkLst>
            <pc:docMk/>
            <pc:sldMk cId="692774623" sldId="952"/>
            <ac:spMk id="12" creationId="{8DDCBF53-33AD-C881-4EFA-79299A44DDE8}"/>
          </ac:spMkLst>
        </pc:spChg>
        <pc:spChg chg="mod">
          <ac:chgData name="Graf Thomas, INI-NET-VNC-E2E" userId="487bc3e3-9ce7-4cdd-b7b4-8899ea88d289" providerId="ADAL" clId="{4EE20934-90F0-4951-A04F-8F0925AC6572}" dt="2025-03-01T12:12:02.781" v="249" actId="255"/>
          <ac:spMkLst>
            <pc:docMk/>
            <pc:sldMk cId="692774623" sldId="952"/>
            <ac:spMk id="25" creationId="{6DC81F34-7EA9-C84D-D7BC-2F5514AC4CE4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1:48:20.299" v="76" actId="20577"/>
        <pc:sldMkLst>
          <pc:docMk/>
          <pc:sldMk cId="3578665336" sldId="1041"/>
        </pc:sldMkLst>
        <pc:spChg chg="mod">
          <ac:chgData name="Graf Thomas, INI-NET-VNC-E2E" userId="487bc3e3-9ce7-4cdd-b7b4-8899ea88d289" providerId="ADAL" clId="{4EE20934-90F0-4951-A04F-8F0925AC6572}" dt="2025-03-01T11:48:20.299" v="76" actId="20577"/>
          <ac:spMkLst>
            <pc:docMk/>
            <pc:sldMk cId="3578665336" sldId="1041"/>
            <ac:spMk id="6" creationId="{6CAA0765-1318-4A03-8F91-D3ECC43D8FA7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2:09:09.911" v="244" actId="255"/>
        <pc:sldMkLst>
          <pc:docMk/>
          <pc:sldMk cId="1081037514" sldId="2145706225"/>
        </pc:sldMkLst>
        <pc:spChg chg="mod">
          <ac:chgData name="Graf Thomas, INI-NET-VNC-E2E" userId="487bc3e3-9ce7-4cdd-b7b4-8899ea88d289" providerId="ADAL" clId="{4EE20934-90F0-4951-A04F-8F0925AC6572}" dt="2025-03-01T12:09:09.911" v="244" actId="255"/>
          <ac:spMkLst>
            <pc:docMk/>
            <pc:sldMk cId="1081037514" sldId="2145706225"/>
            <ac:spMk id="48" creationId="{A48B1DB7-BCDC-5D18-F56D-8A1447F1B8BA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09:35.208" v="245" actId="1076"/>
        <pc:sldMkLst>
          <pc:docMk/>
          <pc:sldMk cId="2992460368" sldId="2145706248"/>
        </pc:sldMkLst>
        <pc:spChg chg="mod">
          <ac:chgData name="Graf Thomas, INI-NET-VNC-E2E" userId="487bc3e3-9ce7-4cdd-b7b4-8899ea88d289" providerId="ADAL" clId="{4EE20934-90F0-4951-A04F-8F0925AC6572}" dt="2025-03-01T11:58:26.416" v="192" actId="1076"/>
          <ac:spMkLst>
            <pc:docMk/>
            <pc:sldMk cId="2992460368" sldId="2145706248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2:09:35.208" v="245" actId="1076"/>
          <ac:spMkLst>
            <pc:docMk/>
            <pc:sldMk cId="2992460368" sldId="2145706248"/>
            <ac:spMk id="23" creationId="{200CBF14-04EF-4232-9E86-69C8CB496988}"/>
          </ac:spMkLst>
        </pc:spChg>
        <pc:spChg chg="del">
          <ac:chgData name="Graf Thomas, INI-NET-VNC-E2E" userId="487bc3e3-9ce7-4cdd-b7b4-8899ea88d289" providerId="ADAL" clId="{4EE20934-90F0-4951-A04F-8F0925AC6572}" dt="2025-03-01T11:59:44.967" v="196" actId="478"/>
          <ac:spMkLst>
            <pc:docMk/>
            <pc:sldMk cId="2992460368" sldId="2145706248"/>
            <ac:spMk id="24" creationId="{7F0854E4-A574-BB47-B958-0EBEDADE71C3}"/>
          </ac:spMkLst>
        </pc:spChg>
        <pc:picChg chg="mod">
          <ac:chgData name="Graf Thomas, INI-NET-VNC-E2E" userId="487bc3e3-9ce7-4cdd-b7b4-8899ea88d289" providerId="ADAL" clId="{4EE20934-90F0-4951-A04F-8F0925AC6572}" dt="2025-03-01T12:09:35.208" v="245" actId="1076"/>
          <ac:picMkLst>
            <pc:docMk/>
            <pc:sldMk cId="2992460368" sldId="2145706248"/>
            <ac:picMk id="4" creationId="{D646E988-68A8-CB20-5EAC-4DA2EC226D6B}"/>
          </ac:picMkLst>
        </pc:picChg>
        <pc:picChg chg="mod">
          <ac:chgData name="Graf Thomas, INI-NET-VNC-E2E" userId="487bc3e3-9ce7-4cdd-b7b4-8899ea88d289" providerId="ADAL" clId="{4EE20934-90F0-4951-A04F-8F0925AC6572}" dt="2025-03-01T12:09:35.208" v="245" actId="1076"/>
          <ac:picMkLst>
            <pc:docMk/>
            <pc:sldMk cId="2992460368" sldId="2145706248"/>
            <ac:picMk id="6" creationId="{096C070A-F164-2366-224C-5FEA44BCD863}"/>
          </ac:picMkLst>
        </pc:picChg>
        <pc:picChg chg="mod">
          <ac:chgData name="Graf Thomas, INI-NET-VNC-E2E" userId="487bc3e3-9ce7-4cdd-b7b4-8899ea88d289" providerId="ADAL" clId="{4EE20934-90F0-4951-A04F-8F0925AC6572}" dt="2025-03-01T12:09:35.208" v="245" actId="1076"/>
          <ac:picMkLst>
            <pc:docMk/>
            <pc:sldMk cId="2992460368" sldId="2145706248"/>
            <ac:picMk id="7" creationId="{D0580A8B-28DF-F68A-4521-8B988C8B6342}"/>
          </ac:picMkLst>
        </pc:picChg>
        <pc:picChg chg="mod">
          <ac:chgData name="Graf Thomas, INI-NET-VNC-E2E" userId="487bc3e3-9ce7-4cdd-b7b4-8899ea88d289" providerId="ADAL" clId="{4EE20934-90F0-4951-A04F-8F0925AC6572}" dt="2025-03-01T12:09:35.208" v="245" actId="1076"/>
          <ac:picMkLst>
            <pc:docMk/>
            <pc:sldMk cId="2992460368" sldId="2145706248"/>
            <ac:picMk id="10" creationId="{7CD42FD2-A68F-ED7C-DC24-009016DCCDD9}"/>
          </ac:picMkLst>
        </pc:picChg>
        <pc:picChg chg="mod">
          <ac:chgData name="Graf Thomas, INI-NET-VNC-E2E" userId="487bc3e3-9ce7-4cdd-b7b4-8899ea88d289" providerId="ADAL" clId="{4EE20934-90F0-4951-A04F-8F0925AC6572}" dt="2025-03-01T12:09:35.208" v="245" actId="1076"/>
          <ac:picMkLst>
            <pc:docMk/>
            <pc:sldMk cId="2992460368" sldId="2145706248"/>
            <ac:picMk id="28" creationId="{902489DE-F809-4491-97BA-957BEDA6A2AA}"/>
          </ac:picMkLst>
        </pc:picChg>
        <pc:cxnChg chg="mod">
          <ac:chgData name="Graf Thomas, INI-NET-VNC-E2E" userId="487bc3e3-9ce7-4cdd-b7b4-8899ea88d289" providerId="ADAL" clId="{4EE20934-90F0-4951-A04F-8F0925AC6572}" dt="2025-03-01T12:09:35.208" v="245" actId="1076"/>
          <ac:cxnSpMkLst>
            <pc:docMk/>
            <pc:sldMk cId="2992460368" sldId="2145706248"/>
            <ac:cxnSpMk id="12" creationId="{B4ED4110-61C6-2E33-CE19-E8D5D2FF2C35}"/>
          </ac:cxnSpMkLst>
        </pc:cxnChg>
        <pc:cxnChg chg="mod">
          <ac:chgData name="Graf Thomas, INI-NET-VNC-E2E" userId="487bc3e3-9ce7-4cdd-b7b4-8899ea88d289" providerId="ADAL" clId="{4EE20934-90F0-4951-A04F-8F0925AC6572}" dt="2025-03-01T12:09:35.208" v="245" actId="1076"/>
          <ac:cxnSpMkLst>
            <pc:docMk/>
            <pc:sldMk cId="2992460368" sldId="2145706248"/>
            <ac:cxnSpMk id="13" creationId="{6FFEBFC9-F225-22C8-7D19-6C6FCDF225BE}"/>
          </ac:cxnSpMkLst>
        </pc:cxnChg>
        <pc:cxnChg chg="mod">
          <ac:chgData name="Graf Thomas, INI-NET-VNC-E2E" userId="487bc3e3-9ce7-4cdd-b7b4-8899ea88d289" providerId="ADAL" clId="{4EE20934-90F0-4951-A04F-8F0925AC6572}" dt="2025-03-01T12:09:35.208" v="245" actId="1076"/>
          <ac:cxnSpMkLst>
            <pc:docMk/>
            <pc:sldMk cId="2992460368" sldId="2145706248"/>
            <ac:cxnSpMk id="16" creationId="{1DA4D6CF-E79B-C37D-F2A5-B7877A3544CF}"/>
          </ac:cxnSpMkLst>
        </pc:cxnChg>
        <pc:cxnChg chg="mod">
          <ac:chgData name="Graf Thomas, INI-NET-VNC-E2E" userId="487bc3e3-9ce7-4cdd-b7b4-8899ea88d289" providerId="ADAL" clId="{4EE20934-90F0-4951-A04F-8F0925AC6572}" dt="2025-03-01T12:09:35.208" v="245" actId="1076"/>
          <ac:cxnSpMkLst>
            <pc:docMk/>
            <pc:sldMk cId="2992460368" sldId="2145706248"/>
            <ac:cxnSpMk id="32" creationId="{A7E66736-C5E9-2C83-DF64-1A2A72348EFD}"/>
          </ac:cxnSpMkLst>
        </pc:cxnChg>
      </pc:sldChg>
      <pc:sldChg chg="delSp modSp mod">
        <pc:chgData name="Graf Thomas, INI-NET-VNC-E2E" userId="487bc3e3-9ce7-4cdd-b7b4-8899ea88d289" providerId="ADAL" clId="{4EE20934-90F0-4951-A04F-8F0925AC6572}" dt="2025-03-01T12:15:01.050" v="265" actId="20577"/>
        <pc:sldMkLst>
          <pc:docMk/>
          <pc:sldMk cId="316318159" sldId="2145706252"/>
        </pc:sldMkLst>
        <pc:spChg chg="del">
          <ac:chgData name="Graf Thomas, INI-NET-VNC-E2E" userId="487bc3e3-9ce7-4cdd-b7b4-8899ea88d289" providerId="ADAL" clId="{4EE20934-90F0-4951-A04F-8F0925AC6572}" dt="2025-03-01T12:01:03.746" v="209" actId="478"/>
          <ac:spMkLst>
            <pc:docMk/>
            <pc:sldMk cId="316318159" sldId="2145706252"/>
            <ac:spMk id="5" creationId="{580E511C-E2B3-30D9-318A-D0514B703F1B}"/>
          </ac:spMkLst>
        </pc:spChg>
        <pc:spChg chg="mod">
          <ac:chgData name="Graf Thomas, INI-NET-VNC-E2E" userId="487bc3e3-9ce7-4cdd-b7b4-8899ea88d289" providerId="ADAL" clId="{4EE20934-90F0-4951-A04F-8F0925AC6572}" dt="2025-03-01T12:15:01.050" v="265" actId="20577"/>
          <ac:spMkLst>
            <pc:docMk/>
            <pc:sldMk cId="316318159" sldId="2145706252"/>
            <ac:spMk id="14" creationId="{08CBAA49-8C50-4BBA-B474-64DAD99FD5A0}"/>
          </ac:spMkLst>
        </pc:spChg>
        <pc:spChg chg="mod">
          <ac:chgData name="Graf Thomas, INI-NET-VNC-E2E" userId="487bc3e3-9ce7-4cdd-b7b4-8899ea88d289" providerId="ADAL" clId="{4EE20934-90F0-4951-A04F-8F0925AC6572}" dt="2025-03-01T12:05:15.282" v="228" actId="948"/>
          <ac:spMkLst>
            <pc:docMk/>
            <pc:sldMk cId="316318159" sldId="2145706252"/>
            <ac:spMk id="15" creationId="{E79FDD6D-9F75-4AFA-82DB-2B96D6D9E01B}"/>
          </ac:spMkLst>
        </pc:spChg>
        <pc:spChg chg="del">
          <ac:chgData name="Graf Thomas, INI-NET-VNC-E2E" userId="487bc3e3-9ce7-4cdd-b7b4-8899ea88d289" providerId="ADAL" clId="{4EE20934-90F0-4951-A04F-8F0925AC6572}" dt="2025-03-01T12:01:05.121" v="210" actId="478"/>
          <ac:spMkLst>
            <pc:docMk/>
            <pc:sldMk cId="316318159" sldId="2145706252"/>
            <ac:spMk id="16" creationId="{082F007D-870C-420B-B275-0D94CF807CDB}"/>
          </ac:spMkLst>
        </pc:spChg>
        <pc:spChg chg="mod">
          <ac:chgData name="Graf Thomas, INI-NET-VNC-E2E" userId="487bc3e3-9ce7-4cdd-b7b4-8899ea88d289" providerId="ADAL" clId="{4EE20934-90F0-4951-A04F-8F0925AC6572}" dt="2025-03-01T12:05:08.893" v="227" actId="948"/>
          <ac:spMkLst>
            <pc:docMk/>
            <pc:sldMk cId="316318159" sldId="2145706252"/>
            <ac:spMk id="17" creationId="{E93810E2-6DE6-4406-AD4F-4A0F58C3FDCE}"/>
          </ac:spMkLst>
        </pc:spChg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1690469041" sldId="2145706256"/>
        </pc:sldMkLst>
      </pc:sldChg>
      <pc:sldChg chg="modSp mod">
        <pc:chgData name="Graf Thomas, INI-NET-VNC-E2E" userId="487bc3e3-9ce7-4cdd-b7b4-8899ea88d289" providerId="ADAL" clId="{4EE20934-90F0-4951-A04F-8F0925AC6572}" dt="2025-03-01T12:09:04.291" v="243" actId="255"/>
        <pc:sldMkLst>
          <pc:docMk/>
          <pc:sldMk cId="1302469771" sldId="2145706275"/>
        </pc:sldMkLst>
        <pc:spChg chg="mod">
          <ac:chgData name="Graf Thomas, INI-NET-VNC-E2E" userId="487bc3e3-9ce7-4cdd-b7b4-8899ea88d289" providerId="ADAL" clId="{4EE20934-90F0-4951-A04F-8F0925AC6572}" dt="2025-03-01T12:09:04.291" v="243" actId="255"/>
          <ac:spMkLst>
            <pc:docMk/>
            <pc:sldMk cId="1302469771" sldId="2145706275"/>
            <ac:spMk id="13" creationId="{509802C0-BFFB-9B0F-A529-E60CDD518439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12:18.899" v="252" actId="14100"/>
        <pc:sldMkLst>
          <pc:docMk/>
          <pc:sldMk cId="2058983617" sldId="2145706281"/>
        </pc:sldMkLst>
        <pc:spChg chg="del">
          <ac:chgData name="Graf Thomas, INI-NET-VNC-E2E" userId="487bc3e3-9ce7-4cdd-b7b4-8899ea88d289" providerId="ADAL" clId="{4EE20934-90F0-4951-A04F-8F0925AC6572}" dt="2025-03-01T12:06:26.534" v="232" actId="478"/>
          <ac:spMkLst>
            <pc:docMk/>
            <pc:sldMk cId="2058983617" sldId="2145706281"/>
            <ac:spMk id="12" creationId="{8DDCBF53-33AD-C881-4EFA-79299A44DDE8}"/>
          </ac:spMkLst>
        </pc:spChg>
        <pc:spChg chg="mod">
          <ac:chgData name="Graf Thomas, INI-NET-VNC-E2E" userId="487bc3e3-9ce7-4cdd-b7b4-8899ea88d289" providerId="ADAL" clId="{4EE20934-90F0-4951-A04F-8F0925AC6572}" dt="2025-03-01T12:12:18.899" v="252" actId="14100"/>
          <ac:spMkLst>
            <pc:docMk/>
            <pc:sldMk cId="2058983617" sldId="2145706281"/>
            <ac:spMk id="25" creationId="{6DC81F34-7EA9-C84D-D7BC-2F5514AC4CE4}"/>
          </ac:spMkLst>
        </pc:spChg>
      </pc:sldChg>
      <pc:sldChg chg="del">
        <pc:chgData name="Graf Thomas, INI-NET-VNC-E2E" userId="487bc3e3-9ce7-4cdd-b7b4-8899ea88d289" providerId="ADAL" clId="{4EE20934-90F0-4951-A04F-8F0925AC6572}" dt="2025-03-01T12:05:36.147" v="230" actId="47"/>
        <pc:sldMkLst>
          <pc:docMk/>
          <pc:sldMk cId="492372888" sldId="2145706282"/>
        </pc:sldMkLst>
      </pc:sldChg>
      <pc:sldChg chg="del">
        <pc:chgData name="Graf Thomas, INI-NET-VNC-E2E" userId="487bc3e3-9ce7-4cdd-b7b4-8899ea88d289" providerId="ADAL" clId="{4EE20934-90F0-4951-A04F-8F0925AC6572}" dt="2025-03-01T12:05:36.147" v="230" actId="47"/>
        <pc:sldMkLst>
          <pc:docMk/>
          <pc:sldMk cId="1108719720" sldId="2145706283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3254418192" sldId="2145706290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2567247265" sldId="2145706295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4185817341" sldId="2145706296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3326317404" sldId="2145706297"/>
        </pc:sldMkLst>
      </pc:sldChg>
      <pc:sldChg chg="addSp delSp modSp mod">
        <pc:chgData name="Graf Thomas, INI-NET-VNC-E2E" userId="487bc3e3-9ce7-4cdd-b7b4-8899ea88d289" providerId="ADAL" clId="{4EE20934-90F0-4951-A04F-8F0925AC6572}" dt="2025-03-01T11:51:19.434" v="132" actId="255"/>
        <pc:sldMkLst>
          <pc:docMk/>
          <pc:sldMk cId="3197247290" sldId="2145706303"/>
        </pc:sldMkLst>
        <pc:spChg chg="add mod">
          <ac:chgData name="Graf Thomas, INI-NET-VNC-E2E" userId="487bc3e3-9ce7-4cdd-b7b4-8899ea88d289" providerId="ADAL" clId="{4EE20934-90F0-4951-A04F-8F0925AC6572}" dt="2025-03-01T11:51:19.434" v="132" actId="255"/>
          <ac:spMkLst>
            <pc:docMk/>
            <pc:sldMk cId="3197247290" sldId="2145706303"/>
            <ac:spMk id="2" creationId="{50E64B29-D86A-706C-9B62-6DDE4BB57B0A}"/>
          </ac:spMkLst>
        </pc:spChg>
        <pc:spChg chg="del">
          <ac:chgData name="Graf Thomas, INI-NET-VNC-E2E" userId="487bc3e3-9ce7-4cdd-b7b4-8899ea88d289" providerId="ADAL" clId="{4EE20934-90F0-4951-A04F-8F0925AC6572}" dt="2025-03-01T11:46:46.069" v="52" actId="478"/>
          <ac:spMkLst>
            <pc:docMk/>
            <pc:sldMk cId="3197247290" sldId="2145706303"/>
            <ac:spMk id="8" creationId="{FBE5644D-AF4A-4732-B3D8-A1D12FF5A0D4}"/>
          </ac:spMkLst>
        </pc:spChg>
        <pc:spChg chg="add del mod">
          <ac:chgData name="Graf Thomas, INI-NET-VNC-E2E" userId="487bc3e3-9ce7-4cdd-b7b4-8899ea88d289" providerId="ADAL" clId="{4EE20934-90F0-4951-A04F-8F0925AC6572}" dt="2025-03-01T11:46:49.001" v="53" actId="478"/>
          <ac:spMkLst>
            <pc:docMk/>
            <pc:sldMk cId="3197247290" sldId="2145706303"/>
            <ac:spMk id="9" creationId="{F92E969E-1D9F-CFAD-E809-B575360EDECD}"/>
          </ac:spMkLst>
        </pc:spChg>
        <pc:spChg chg="mod">
          <ac:chgData name="Graf Thomas, INI-NET-VNC-E2E" userId="487bc3e3-9ce7-4cdd-b7b4-8899ea88d289" providerId="ADAL" clId="{4EE20934-90F0-4951-A04F-8F0925AC6572}" dt="2025-03-01T11:47:45.713" v="60" actId="20577"/>
          <ac:spMkLst>
            <pc:docMk/>
            <pc:sldMk cId="3197247290" sldId="2145706303"/>
            <ac:spMk id="18" creationId="{3237B3B6-1C20-C70F-6AC8-021DC43F4482}"/>
          </ac:spMkLst>
        </pc:spChg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4022267391" sldId="2145706304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2242071639" sldId="2145706305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3306219172" sldId="2145706306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761850042" sldId="2145706308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4182975672" sldId="2145706309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1513516827" sldId="2145706311"/>
        </pc:sldMkLst>
      </pc:sldChg>
      <pc:sldChg chg="del">
        <pc:chgData name="Graf Thomas, INI-NET-VNC-E2E" userId="487bc3e3-9ce7-4cdd-b7b4-8899ea88d289" providerId="ADAL" clId="{4EE20934-90F0-4951-A04F-8F0925AC6572}" dt="2025-03-01T11:49:58.561" v="119" actId="47"/>
        <pc:sldMkLst>
          <pc:docMk/>
          <pc:sldMk cId="2039079038" sldId="2145706312"/>
        </pc:sldMkLst>
      </pc:sldChg>
      <pc:sldChg chg="del">
        <pc:chgData name="Graf Thomas, INI-NET-VNC-E2E" userId="487bc3e3-9ce7-4cdd-b7b4-8899ea88d289" providerId="ADAL" clId="{4EE20934-90F0-4951-A04F-8F0925AC6572}" dt="2025-03-01T12:04:52.229" v="226" actId="47"/>
        <pc:sldMkLst>
          <pc:docMk/>
          <pc:sldMk cId="1612286370" sldId="2145706313"/>
        </pc:sldMkLst>
      </pc:sldChg>
      <pc:sldChg chg="addSp delSp modSp del mod">
        <pc:chgData name="Graf Thomas, INI-NET-VNC-E2E" userId="487bc3e3-9ce7-4cdd-b7b4-8899ea88d289" providerId="ADAL" clId="{4EE20934-90F0-4951-A04F-8F0925AC6572}" dt="2025-03-01T12:14:15.010" v="255" actId="47"/>
        <pc:sldMkLst>
          <pc:docMk/>
          <pc:sldMk cId="2503102637" sldId="2145706320"/>
        </pc:sldMkLst>
        <pc:spChg chg="mod">
          <ac:chgData name="Graf Thomas, INI-NET-VNC-E2E" userId="487bc3e3-9ce7-4cdd-b7b4-8899ea88d289" providerId="ADAL" clId="{4EE20934-90F0-4951-A04F-8F0925AC6572}" dt="2025-03-01T11:49:07.423" v="82" actId="14100"/>
          <ac:spMkLst>
            <pc:docMk/>
            <pc:sldMk cId="2503102637" sldId="2145706320"/>
            <ac:spMk id="5" creationId="{5C2956D9-21C7-308D-6DC1-343EDF11047B}"/>
          </ac:spMkLst>
        </pc:spChg>
        <pc:spChg chg="del">
          <ac:chgData name="Graf Thomas, INI-NET-VNC-E2E" userId="487bc3e3-9ce7-4cdd-b7b4-8899ea88d289" providerId="ADAL" clId="{4EE20934-90F0-4951-A04F-8F0925AC6572}" dt="2025-03-01T11:46:06.121" v="39" actId="478"/>
          <ac:spMkLst>
            <pc:docMk/>
            <pc:sldMk cId="2503102637" sldId="2145706320"/>
            <ac:spMk id="8" creationId="{FBE5644D-AF4A-4732-B3D8-A1D12FF5A0D4}"/>
          </ac:spMkLst>
        </pc:spChg>
        <pc:spChg chg="add del mod">
          <ac:chgData name="Graf Thomas, INI-NET-VNC-E2E" userId="487bc3e3-9ce7-4cdd-b7b4-8899ea88d289" providerId="ADAL" clId="{4EE20934-90F0-4951-A04F-8F0925AC6572}" dt="2025-03-01T11:46:08.227" v="40" actId="478"/>
          <ac:spMkLst>
            <pc:docMk/>
            <pc:sldMk cId="2503102637" sldId="2145706320"/>
            <ac:spMk id="12" creationId="{A445CEA9-7A9F-21FA-767A-EB246AD5D993}"/>
          </ac:spMkLst>
        </pc:spChg>
        <pc:spChg chg="add mod">
          <ac:chgData name="Graf Thomas, INI-NET-VNC-E2E" userId="487bc3e3-9ce7-4cdd-b7b4-8899ea88d289" providerId="ADAL" clId="{4EE20934-90F0-4951-A04F-8F0925AC6572}" dt="2025-03-01T11:51:08.854" v="131" actId="14100"/>
          <ac:spMkLst>
            <pc:docMk/>
            <pc:sldMk cId="2503102637" sldId="2145706320"/>
            <ac:spMk id="13" creationId="{15A4CB14-176E-1642-EE7A-37F0CB0314E1}"/>
          </ac:spMkLst>
        </pc:spChg>
        <pc:picChg chg="mod">
          <ac:chgData name="Graf Thomas, INI-NET-VNC-E2E" userId="487bc3e3-9ce7-4cdd-b7b4-8899ea88d289" providerId="ADAL" clId="{4EE20934-90F0-4951-A04F-8F0925AC6572}" dt="2025-03-01T11:49:22.954" v="117" actId="1037"/>
          <ac:picMkLst>
            <pc:docMk/>
            <pc:sldMk cId="2503102637" sldId="2145706320"/>
            <ac:picMk id="2" creationId="{83DC9127-0E65-3633-3A75-D80E450B62B1}"/>
          </ac:picMkLst>
        </pc:picChg>
        <pc:picChg chg="mod">
          <ac:chgData name="Graf Thomas, INI-NET-VNC-E2E" userId="487bc3e3-9ce7-4cdd-b7b4-8899ea88d289" providerId="ADAL" clId="{4EE20934-90F0-4951-A04F-8F0925AC6572}" dt="2025-03-01T11:49:22.954" v="117" actId="1037"/>
          <ac:picMkLst>
            <pc:docMk/>
            <pc:sldMk cId="2503102637" sldId="2145706320"/>
            <ac:picMk id="4" creationId="{D2970787-B7E7-8FD7-FA8B-425379D51711}"/>
          </ac:picMkLst>
        </pc:picChg>
        <pc:picChg chg="mod">
          <ac:chgData name="Graf Thomas, INI-NET-VNC-E2E" userId="487bc3e3-9ce7-4cdd-b7b4-8899ea88d289" providerId="ADAL" clId="{4EE20934-90F0-4951-A04F-8F0925AC6572}" dt="2025-03-01T11:49:22.954" v="117" actId="1037"/>
          <ac:picMkLst>
            <pc:docMk/>
            <pc:sldMk cId="2503102637" sldId="2145706320"/>
            <ac:picMk id="6" creationId="{B18CF114-7E5C-36BC-304B-2893F3F59342}"/>
          </ac:picMkLst>
        </pc:picChg>
        <pc:picChg chg="add mod ord">
          <ac:chgData name="Graf Thomas, INI-NET-VNC-E2E" userId="487bc3e3-9ce7-4cdd-b7b4-8899ea88d289" providerId="ADAL" clId="{4EE20934-90F0-4951-A04F-8F0925AC6572}" dt="2025-03-01T11:49:17.776" v="84" actId="167"/>
          <ac:picMkLst>
            <pc:docMk/>
            <pc:sldMk cId="2503102637" sldId="2145706320"/>
            <ac:picMk id="14" creationId="{8C9F340C-3107-0B6D-0F37-7C0D5AB1AFD5}"/>
          </ac:picMkLst>
        </pc:picChg>
      </pc:sldChg>
      <pc:sldChg chg="modSp mod">
        <pc:chgData name="Graf Thomas, INI-NET-VNC-E2E" userId="487bc3e3-9ce7-4cdd-b7b4-8899ea88d289" providerId="ADAL" clId="{4EE20934-90F0-4951-A04F-8F0925AC6572}" dt="2025-03-01T11:56:55.013" v="182" actId="108"/>
        <pc:sldMkLst>
          <pc:docMk/>
          <pc:sldMk cId="3505612751" sldId="2145706325"/>
        </pc:sldMkLst>
        <pc:spChg chg="mod">
          <ac:chgData name="Graf Thomas, INI-NET-VNC-E2E" userId="487bc3e3-9ce7-4cdd-b7b4-8899ea88d289" providerId="ADAL" clId="{4EE20934-90F0-4951-A04F-8F0925AC6572}" dt="2025-03-01T11:56:55.013" v="182" actId="108"/>
          <ac:spMkLst>
            <pc:docMk/>
            <pc:sldMk cId="3505612751" sldId="2145706325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2:55.445" v="155" actId="20577"/>
          <ac:spMkLst>
            <pc:docMk/>
            <pc:sldMk cId="3505612751" sldId="2145706325"/>
            <ac:spMk id="18" creationId="{3237B3B6-1C20-C70F-6AC8-021DC43F4482}"/>
          </ac:spMkLst>
        </pc:spChg>
      </pc:sldChg>
      <pc:sldChg chg="addSp delSp modSp mod">
        <pc:chgData name="Graf Thomas, INI-NET-VNC-E2E" userId="487bc3e3-9ce7-4cdd-b7b4-8899ea88d289" providerId="ADAL" clId="{4EE20934-90F0-4951-A04F-8F0925AC6572}" dt="2025-03-01T11:58:48.869" v="194" actId="1076"/>
        <pc:sldMkLst>
          <pc:docMk/>
          <pc:sldMk cId="2683737467" sldId="2145706326"/>
        </pc:sldMkLst>
        <pc:spChg chg="add del mod">
          <ac:chgData name="Graf Thomas, INI-NET-VNC-E2E" userId="487bc3e3-9ce7-4cdd-b7b4-8899ea88d289" providerId="ADAL" clId="{4EE20934-90F0-4951-A04F-8F0925AC6572}" dt="2025-03-01T11:45:15.441" v="15" actId="478"/>
          <ac:spMkLst>
            <pc:docMk/>
            <pc:sldMk cId="2683737467" sldId="2145706326"/>
            <ac:spMk id="4" creationId="{7F3E291F-ABE6-052C-DAD3-70764626956D}"/>
          </ac:spMkLst>
        </pc:spChg>
        <pc:spChg chg="add mod">
          <ac:chgData name="Graf Thomas, INI-NET-VNC-E2E" userId="487bc3e3-9ce7-4cdd-b7b4-8899ea88d289" providerId="ADAL" clId="{4EE20934-90F0-4951-A04F-8F0925AC6572}" dt="2025-03-01T11:58:48.869" v="194" actId="1076"/>
          <ac:spMkLst>
            <pc:docMk/>
            <pc:sldMk cId="2683737467" sldId="2145706326"/>
            <ac:spMk id="5" creationId="{FBD09272-BFE1-CA0B-10DD-7F52B246F6D6}"/>
          </ac:spMkLst>
        </pc:spChg>
        <pc:spChg chg="del mod">
          <ac:chgData name="Graf Thomas, INI-NET-VNC-E2E" userId="487bc3e3-9ce7-4cdd-b7b4-8899ea88d289" providerId="ADAL" clId="{4EE20934-90F0-4951-A04F-8F0925AC6572}" dt="2025-03-01T11:45:12.699" v="14" actId="478"/>
          <ac:spMkLst>
            <pc:docMk/>
            <pc:sldMk cId="2683737467" sldId="2145706326"/>
            <ac:spMk id="8" creationId="{FBE5644D-AF4A-4732-B3D8-A1D12FF5A0D4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12:32.894" v="254" actId="14100"/>
        <pc:sldMkLst>
          <pc:docMk/>
          <pc:sldMk cId="59580516" sldId="2145706347"/>
        </pc:sldMkLst>
        <pc:spChg chg="del">
          <ac:chgData name="Graf Thomas, INI-NET-VNC-E2E" userId="487bc3e3-9ce7-4cdd-b7b4-8899ea88d289" providerId="ADAL" clId="{4EE20934-90F0-4951-A04F-8F0925AC6572}" dt="2025-03-01T12:06:28.996" v="233" actId="478"/>
          <ac:spMkLst>
            <pc:docMk/>
            <pc:sldMk cId="59580516" sldId="2145706347"/>
            <ac:spMk id="12" creationId="{8DDCBF53-33AD-C881-4EFA-79299A44DDE8}"/>
          </ac:spMkLst>
        </pc:spChg>
        <pc:spChg chg="mod">
          <ac:chgData name="Graf Thomas, INI-NET-VNC-E2E" userId="487bc3e3-9ce7-4cdd-b7b4-8899ea88d289" providerId="ADAL" clId="{4EE20934-90F0-4951-A04F-8F0925AC6572}" dt="2025-03-01T12:12:32.894" v="254" actId="14100"/>
          <ac:spMkLst>
            <pc:docMk/>
            <pc:sldMk cId="59580516" sldId="2145706347"/>
            <ac:spMk id="25" creationId="{6DC81F34-7EA9-C84D-D7BC-2F5514AC4CE4}"/>
          </ac:spMkLst>
        </pc:spChg>
      </pc:sldChg>
      <pc:sldChg chg="addSp delSp modSp mod">
        <pc:chgData name="Graf Thomas, INI-NET-VNC-E2E" userId="487bc3e3-9ce7-4cdd-b7b4-8899ea88d289" providerId="ADAL" clId="{4EE20934-90F0-4951-A04F-8F0925AC6572}" dt="2025-03-01T12:09:41.925" v="246" actId="1076"/>
        <pc:sldMkLst>
          <pc:docMk/>
          <pc:sldMk cId="1379773957" sldId="2145706350"/>
        </pc:sldMkLst>
        <pc:spChg chg="add del mod">
          <ac:chgData name="Graf Thomas, INI-NET-VNC-E2E" userId="487bc3e3-9ce7-4cdd-b7b4-8899ea88d289" providerId="ADAL" clId="{4EE20934-90F0-4951-A04F-8F0925AC6572}" dt="2025-03-01T11:45:03.430" v="12" actId="478"/>
          <ac:spMkLst>
            <pc:docMk/>
            <pc:sldMk cId="1379773957" sldId="2145706350"/>
            <ac:spMk id="5" creationId="{5F97887C-ED92-5310-08FE-51A16B800424}"/>
          </ac:spMkLst>
        </pc:spChg>
        <pc:spChg chg="add mod">
          <ac:chgData name="Graf Thomas, INI-NET-VNC-E2E" userId="487bc3e3-9ce7-4cdd-b7b4-8899ea88d289" providerId="ADAL" clId="{4EE20934-90F0-4951-A04F-8F0925AC6572}" dt="2025-03-01T11:58:37.644" v="193" actId="1076"/>
          <ac:spMkLst>
            <pc:docMk/>
            <pc:sldMk cId="1379773957" sldId="2145706350"/>
            <ac:spMk id="6" creationId="{B9468A29-8494-AFBE-CB4F-D5F327A4884E}"/>
          </ac:spMkLst>
        </pc:spChg>
        <pc:spChg chg="del mod">
          <ac:chgData name="Graf Thomas, INI-NET-VNC-E2E" userId="487bc3e3-9ce7-4cdd-b7b4-8899ea88d289" providerId="ADAL" clId="{4EE20934-90F0-4951-A04F-8F0925AC6572}" dt="2025-03-01T11:45:00.958" v="11" actId="478"/>
          <ac:spMkLst>
            <pc:docMk/>
            <pc:sldMk cId="1379773957" sldId="2145706350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2:09:41.925" v="246" actId="1076"/>
          <ac:spMkLst>
            <pc:docMk/>
            <pc:sldMk cId="1379773957" sldId="2145706350"/>
            <ac:spMk id="23" creationId="{200CBF14-04EF-4232-9E86-69C8CB496988}"/>
          </ac:spMkLst>
        </pc:spChg>
        <pc:spChg chg="del">
          <ac:chgData name="Graf Thomas, INI-NET-VNC-E2E" userId="487bc3e3-9ce7-4cdd-b7b4-8899ea88d289" providerId="ADAL" clId="{4EE20934-90F0-4951-A04F-8F0925AC6572}" dt="2025-03-01T11:59:47.504" v="197" actId="478"/>
          <ac:spMkLst>
            <pc:docMk/>
            <pc:sldMk cId="1379773957" sldId="2145706350"/>
            <ac:spMk id="24" creationId="{7F0854E4-A574-BB47-B958-0EBEDADE71C3}"/>
          </ac:spMkLst>
        </pc:spChg>
        <pc:picChg chg="mod">
          <ac:chgData name="Graf Thomas, INI-NET-VNC-E2E" userId="487bc3e3-9ce7-4cdd-b7b4-8899ea88d289" providerId="ADAL" clId="{4EE20934-90F0-4951-A04F-8F0925AC6572}" dt="2025-03-01T12:09:41.925" v="246" actId="1076"/>
          <ac:picMkLst>
            <pc:docMk/>
            <pc:sldMk cId="1379773957" sldId="2145706350"/>
            <ac:picMk id="2" creationId="{104586A3-D638-9D3A-739F-52AD87B0ABA8}"/>
          </ac:picMkLst>
        </pc:picChg>
        <pc:picChg chg="mod">
          <ac:chgData name="Graf Thomas, INI-NET-VNC-E2E" userId="487bc3e3-9ce7-4cdd-b7b4-8899ea88d289" providerId="ADAL" clId="{4EE20934-90F0-4951-A04F-8F0925AC6572}" dt="2025-03-01T12:09:41.925" v="246" actId="1076"/>
          <ac:picMkLst>
            <pc:docMk/>
            <pc:sldMk cId="1379773957" sldId="2145706350"/>
            <ac:picMk id="7" creationId="{D0580A8B-28DF-F68A-4521-8B988C8B6342}"/>
          </ac:picMkLst>
        </pc:picChg>
        <pc:picChg chg="mod">
          <ac:chgData name="Graf Thomas, INI-NET-VNC-E2E" userId="487bc3e3-9ce7-4cdd-b7b4-8899ea88d289" providerId="ADAL" clId="{4EE20934-90F0-4951-A04F-8F0925AC6572}" dt="2025-03-01T12:09:41.925" v="246" actId="1076"/>
          <ac:picMkLst>
            <pc:docMk/>
            <pc:sldMk cId="1379773957" sldId="2145706350"/>
            <ac:picMk id="49" creationId="{EF6B390E-5877-9297-712A-9BE3172861BB}"/>
          </ac:picMkLst>
        </pc:picChg>
        <pc:cxnChg chg="mod">
          <ac:chgData name="Graf Thomas, INI-NET-VNC-E2E" userId="487bc3e3-9ce7-4cdd-b7b4-8899ea88d289" providerId="ADAL" clId="{4EE20934-90F0-4951-A04F-8F0925AC6572}" dt="2025-03-01T12:09:41.925" v="246" actId="1076"/>
          <ac:cxnSpMkLst>
            <pc:docMk/>
            <pc:sldMk cId="1379773957" sldId="2145706350"/>
            <ac:cxnSpMk id="13" creationId="{6FFEBFC9-F225-22C8-7D19-6C6FCDF225BE}"/>
          </ac:cxnSpMkLst>
        </pc:cxnChg>
        <pc:cxnChg chg="mod">
          <ac:chgData name="Graf Thomas, INI-NET-VNC-E2E" userId="487bc3e3-9ce7-4cdd-b7b4-8899ea88d289" providerId="ADAL" clId="{4EE20934-90F0-4951-A04F-8F0925AC6572}" dt="2025-03-01T12:09:41.925" v="246" actId="1076"/>
          <ac:cxnSpMkLst>
            <pc:docMk/>
            <pc:sldMk cId="1379773957" sldId="2145706350"/>
            <ac:cxnSpMk id="16" creationId="{1DA4D6CF-E79B-C37D-F2A5-B7877A3544CF}"/>
          </ac:cxnSpMkLst>
        </pc:cxnChg>
      </pc:sldChg>
      <pc:sldChg chg="addSp delSp modSp del mod">
        <pc:chgData name="Graf Thomas, INI-NET-VNC-E2E" userId="487bc3e3-9ce7-4cdd-b7b4-8899ea88d289" providerId="ADAL" clId="{4EE20934-90F0-4951-A04F-8F0925AC6572}" dt="2025-03-01T12:14:15.010" v="255" actId="47"/>
        <pc:sldMkLst>
          <pc:docMk/>
          <pc:sldMk cId="4242667374" sldId="2145706351"/>
        </pc:sldMkLst>
        <pc:spChg chg="add mod">
          <ac:chgData name="Graf Thomas, INI-NET-VNC-E2E" userId="487bc3e3-9ce7-4cdd-b7b4-8899ea88d289" providerId="ADAL" clId="{4EE20934-90F0-4951-A04F-8F0925AC6572}" dt="2025-03-01T11:58:14.839" v="191" actId="14100"/>
          <ac:spMkLst>
            <pc:docMk/>
            <pc:sldMk cId="4242667374" sldId="2145706351"/>
            <ac:spMk id="2" creationId="{E236A9D9-F960-9808-4A25-9B17C49BDDD9}"/>
          </ac:spMkLst>
        </pc:spChg>
        <pc:spChg chg="mod">
          <ac:chgData name="Graf Thomas, INI-NET-VNC-E2E" userId="487bc3e3-9ce7-4cdd-b7b4-8899ea88d289" providerId="ADAL" clId="{4EE20934-90F0-4951-A04F-8F0925AC6572}" dt="2025-03-01T11:49:43.585" v="118" actId="108"/>
          <ac:spMkLst>
            <pc:docMk/>
            <pc:sldMk cId="4242667374" sldId="2145706351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48:48.392" v="79" actId="14100"/>
          <ac:spMkLst>
            <pc:docMk/>
            <pc:sldMk cId="4242667374" sldId="2145706351"/>
            <ac:spMk id="5" creationId="{5C2956D9-21C7-308D-6DC1-343EDF11047B}"/>
          </ac:spMkLst>
        </pc:spChg>
        <pc:spChg chg="add del mod">
          <ac:chgData name="Graf Thomas, INI-NET-VNC-E2E" userId="487bc3e3-9ce7-4cdd-b7b4-8899ea88d289" providerId="ADAL" clId="{4EE20934-90F0-4951-A04F-8F0925AC6572}" dt="2025-03-01T11:45:45.587" v="33" actId="478"/>
          <ac:spMkLst>
            <pc:docMk/>
            <pc:sldMk cId="4242667374" sldId="2145706351"/>
            <ac:spMk id="6" creationId="{4C64ED0F-E2ED-ECC6-A748-78305D0D64F9}"/>
          </ac:spMkLst>
        </pc:spChg>
        <pc:spChg chg="del">
          <ac:chgData name="Graf Thomas, INI-NET-VNC-E2E" userId="487bc3e3-9ce7-4cdd-b7b4-8899ea88d289" providerId="ADAL" clId="{4EE20934-90F0-4951-A04F-8F0925AC6572}" dt="2025-03-01T11:45:43.191" v="32" actId="478"/>
          <ac:spMkLst>
            <pc:docMk/>
            <pc:sldMk cId="4242667374" sldId="2145706351"/>
            <ac:spMk id="8" creationId="{FBE5644D-AF4A-4732-B3D8-A1D12FF5A0D4}"/>
          </ac:spMkLst>
        </pc:spChg>
        <pc:picChg chg="add mod">
          <ac:chgData name="Graf Thomas, INI-NET-VNC-E2E" userId="487bc3e3-9ce7-4cdd-b7b4-8899ea88d289" providerId="ADAL" clId="{4EE20934-90F0-4951-A04F-8F0925AC6572}" dt="2025-03-01T11:48:52.654" v="80" actId="1076"/>
          <ac:picMkLst>
            <pc:docMk/>
            <pc:sldMk cId="4242667374" sldId="2145706351"/>
            <ac:picMk id="9" creationId="{C7DCE09B-5D9E-C839-7951-589120BAAB23}"/>
          </ac:picMkLst>
        </pc:picChg>
      </pc:sldChg>
      <pc:sldChg chg="delSp modSp mod">
        <pc:chgData name="Graf Thomas, INI-NET-VNC-E2E" userId="487bc3e3-9ce7-4cdd-b7b4-8899ea88d289" providerId="ADAL" clId="{4EE20934-90F0-4951-A04F-8F0925AC6572}" dt="2025-03-01T11:59:39.602" v="195" actId="478"/>
        <pc:sldMkLst>
          <pc:docMk/>
          <pc:sldMk cId="1678731784" sldId="2145706352"/>
        </pc:sldMkLst>
        <pc:spChg chg="del">
          <ac:chgData name="Graf Thomas, INI-NET-VNC-E2E" userId="487bc3e3-9ce7-4cdd-b7b4-8899ea88d289" providerId="ADAL" clId="{4EE20934-90F0-4951-A04F-8F0925AC6572}" dt="2025-03-01T11:59:39.602" v="195" actId="478"/>
          <ac:spMkLst>
            <pc:docMk/>
            <pc:sldMk cId="1678731784" sldId="2145706352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5:11.607" v="169" actId="207"/>
          <ac:spMkLst>
            <pc:docMk/>
            <pc:sldMk cId="1678731784" sldId="2145706352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47:57.339" v="63" actId="20577"/>
          <ac:spMkLst>
            <pc:docMk/>
            <pc:sldMk cId="1678731784" sldId="2145706352"/>
            <ac:spMk id="29" creationId="{8CF09A4F-505D-4C11-B06B-B7F72528EAF0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1:55:35.205" v="172" actId="207"/>
        <pc:sldMkLst>
          <pc:docMk/>
          <pc:sldMk cId="1346305644" sldId="2145706353"/>
        </pc:sldMkLst>
        <pc:spChg chg="mod">
          <ac:chgData name="Graf Thomas, INI-NET-VNC-E2E" userId="487bc3e3-9ce7-4cdd-b7b4-8899ea88d289" providerId="ADAL" clId="{4EE20934-90F0-4951-A04F-8F0925AC6572}" dt="2025-03-01T11:51:47.084" v="135" actId="108"/>
          <ac:spMkLst>
            <pc:docMk/>
            <pc:sldMk cId="1346305644" sldId="2145706353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55:35.205" v="172" actId="207"/>
          <ac:spMkLst>
            <pc:docMk/>
            <pc:sldMk cId="1346305644" sldId="2145706353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1:35.958" v="134" actId="20577"/>
          <ac:spMkLst>
            <pc:docMk/>
            <pc:sldMk cId="1346305644" sldId="2145706353"/>
            <ac:spMk id="18" creationId="{3237B3B6-1C20-C70F-6AC8-021DC43F4482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10:42.792" v="248" actId="1076"/>
        <pc:sldMkLst>
          <pc:docMk/>
          <pc:sldMk cId="2116632016" sldId="2145706354"/>
        </pc:sldMkLst>
        <pc:spChg chg="mod">
          <ac:chgData name="Graf Thomas, INI-NET-VNC-E2E" userId="487bc3e3-9ce7-4cdd-b7b4-8899ea88d289" providerId="ADAL" clId="{4EE20934-90F0-4951-A04F-8F0925AC6572}" dt="2025-03-01T12:00:08.034" v="199" actId="108"/>
          <ac:spMkLst>
            <pc:docMk/>
            <pc:sldMk cId="2116632016" sldId="2145706354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2:10:42.792" v="248" actId="1076"/>
          <ac:spMkLst>
            <pc:docMk/>
            <pc:sldMk cId="2116632016" sldId="2145706354"/>
            <ac:spMk id="11" creationId="{E06BB42D-172C-EE2B-CEB6-9ADD5BC977AA}"/>
          </ac:spMkLst>
        </pc:spChg>
        <pc:spChg chg="mod">
          <ac:chgData name="Graf Thomas, INI-NET-VNC-E2E" userId="487bc3e3-9ce7-4cdd-b7b4-8899ea88d289" providerId="ADAL" clId="{4EE20934-90F0-4951-A04F-8F0925AC6572}" dt="2025-03-01T12:10:42.792" v="248" actId="1076"/>
          <ac:spMkLst>
            <pc:docMk/>
            <pc:sldMk cId="2116632016" sldId="2145706354"/>
            <ac:spMk id="20" creationId="{BFDFE79C-766F-442A-8A6E-30C235106C35}"/>
          </ac:spMkLst>
        </pc:spChg>
        <pc:spChg chg="del">
          <ac:chgData name="Graf Thomas, INI-NET-VNC-E2E" userId="487bc3e3-9ce7-4cdd-b7b4-8899ea88d289" providerId="ADAL" clId="{4EE20934-90F0-4951-A04F-8F0925AC6572}" dt="2025-03-01T11:59:52.095" v="198" actId="478"/>
          <ac:spMkLst>
            <pc:docMk/>
            <pc:sldMk cId="2116632016" sldId="2145706354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5:52.148" v="174" actId="108"/>
          <ac:spMkLst>
            <pc:docMk/>
            <pc:sldMk cId="2116632016" sldId="2145706354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52:12.472" v="139" actId="20577"/>
          <ac:spMkLst>
            <pc:docMk/>
            <pc:sldMk cId="2116632016" sldId="2145706354"/>
            <ac:spMk id="29" creationId="{8CF09A4F-505D-4C11-B06B-B7F72528EAF0}"/>
          </ac:spMkLst>
        </pc:sp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6" creationId="{E36DB1BB-9ECD-C331-1281-1FC5A9067C05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10" creationId="{68324C23-657A-4CAD-F137-1E7D2492D4FD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18" creationId="{30BD1EAA-AEC3-D8B1-A9F9-CF48F449F5E9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31" creationId="{4760E189-4F8E-D099-1DEC-20B5D7680F50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32" creationId="{0CC6F581-A7FF-5545-93BC-7E9313A857E9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33" creationId="{6B17A72E-6B96-FAD3-010D-E0D5F8541C5F}"/>
          </ac:picMkLst>
        </pc:picChg>
        <pc:picChg chg="mod">
          <ac:chgData name="Graf Thomas, INI-NET-VNC-E2E" userId="487bc3e3-9ce7-4cdd-b7b4-8899ea88d289" providerId="ADAL" clId="{4EE20934-90F0-4951-A04F-8F0925AC6572}" dt="2025-03-01T12:10:42.792" v="248" actId="1076"/>
          <ac:picMkLst>
            <pc:docMk/>
            <pc:sldMk cId="2116632016" sldId="2145706354"/>
            <ac:picMk id="34" creationId="{865A80A5-4A1F-B7CD-31FC-1CB19E685505}"/>
          </ac:picMkLst>
        </pc:picChg>
      </pc:sldChg>
      <pc:sldChg chg="modSp mod">
        <pc:chgData name="Graf Thomas, INI-NET-VNC-E2E" userId="487bc3e3-9ce7-4cdd-b7b4-8899ea88d289" providerId="ADAL" clId="{4EE20934-90F0-4951-A04F-8F0925AC6572}" dt="2025-03-01T12:00:14.059" v="200" actId="108"/>
        <pc:sldMkLst>
          <pc:docMk/>
          <pc:sldMk cId="4270534979" sldId="2145706355"/>
        </pc:sldMkLst>
        <pc:spChg chg="mod">
          <ac:chgData name="Graf Thomas, INI-NET-VNC-E2E" userId="487bc3e3-9ce7-4cdd-b7b4-8899ea88d289" providerId="ADAL" clId="{4EE20934-90F0-4951-A04F-8F0925AC6572}" dt="2025-03-01T12:00:14.059" v="200" actId="108"/>
          <ac:spMkLst>
            <pc:docMk/>
            <pc:sldMk cId="4270534979" sldId="2145706355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56:00.447" v="175" actId="108"/>
          <ac:spMkLst>
            <pc:docMk/>
            <pc:sldMk cId="4270534979" sldId="2145706355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2:05.046" v="138" actId="20577"/>
          <ac:spMkLst>
            <pc:docMk/>
            <pc:sldMk cId="4270534979" sldId="2145706355"/>
            <ac:spMk id="18" creationId="{3237B3B6-1C20-C70F-6AC8-021DC43F4482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00:32.016" v="203" actId="108"/>
        <pc:sldMkLst>
          <pc:docMk/>
          <pc:sldMk cId="90556445" sldId="2145706356"/>
        </pc:sldMkLst>
        <pc:spChg chg="mod">
          <ac:chgData name="Graf Thomas, INI-NET-VNC-E2E" userId="487bc3e3-9ce7-4cdd-b7b4-8899ea88d289" providerId="ADAL" clId="{4EE20934-90F0-4951-A04F-8F0925AC6572}" dt="2025-03-01T12:00:32.016" v="203" actId="108"/>
          <ac:spMkLst>
            <pc:docMk/>
            <pc:sldMk cId="90556445" sldId="2145706356"/>
            <ac:spMk id="3" creationId="{9690665C-8566-4537-9D7A-7F19909CBCF1}"/>
          </ac:spMkLst>
        </pc:spChg>
        <pc:spChg chg="del mod">
          <ac:chgData name="Graf Thomas, INI-NET-VNC-E2E" userId="487bc3e3-9ce7-4cdd-b7b4-8899ea88d289" providerId="ADAL" clId="{4EE20934-90F0-4951-A04F-8F0925AC6572}" dt="2025-03-01T12:00:25.038" v="202" actId="478"/>
          <ac:spMkLst>
            <pc:docMk/>
            <pc:sldMk cId="90556445" sldId="2145706356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6:08.981" v="176" actId="108"/>
          <ac:spMkLst>
            <pc:docMk/>
            <pc:sldMk cId="90556445" sldId="2145706356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52:18.931" v="142" actId="20577"/>
          <ac:spMkLst>
            <pc:docMk/>
            <pc:sldMk cId="90556445" sldId="2145706356"/>
            <ac:spMk id="29" creationId="{8CF09A4F-505D-4C11-B06B-B7F72528EAF0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2:00:38.616" v="204" actId="108"/>
        <pc:sldMkLst>
          <pc:docMk/>
          <pc:sldMk cId="4165425600" sldId="2145706357"/>
        </pc:sldMkLst>
        <pc:spChg chg="mod">
          <ac:chgData name="Graf Thomas, INI-NET-VNC-E2E" userId="487bc3e3-9ce7-4cdd-b7b4-8899ea88d289" providerId="ADAL" clId="{4EE20934-90F0-4951-A04F-8F0925AC6572}" dt="2025-03-01T12:00:38.616" v="204" actId="108"/>
          <ac:spMkLst>
            <pc:docMk/>
            <pc:sldMk cId="4165425600" sldId="2145706357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56:15.896" v="177" actId="108"/>
          <ac:spMkLst>
            <pc:docMk/>
            <pc:sldMk cId="4165425600" sldId="2145706357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2:23.498" v="145" actId="20577"/>
          <ac:spMkLst>
            <pc:docMk/>
            <pc:sldMk cId="4165425600" sldId="2145706357"/>
            <ac:spMk id="18" creationId="{3237B3B6-1C20-C70F-6AC8-021DC43F4482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00:49.745" v="206" actId="108"/>
        <pc:sldMkLst>
          <pc:docMk/>
          <pc:sldMk cId="1184754989" sldId="2145706358"/>
        </pc:sldMkLst>
        <pc:spChg chg="mod">
          <ac:chgData name="Graf Thomas, INI-NET-VNC-E2E" userId="487bc3e3-9ce7-4cdd-b7b4-8899ea88d289" providerId="ADAL" clId="{4EE20934-90F0-4951-A04F-8F0925AC6572}" dt="2025-03-01T12:00:49.745" v="206" actId="108"/>
          <ac:spMkLst>
            <pc:docMk/>
            <pc:sldMk cId="1184754989" sldId="2145706358"/>
            <ac:spMk id="3" creationId="{9690665C-8566-4537-9D7A-7F19909CBCF1}"/>
          </ac:spMkLst>
        </pc:spChg>
        <pc:spChg chg="del">
          <ac:chgData name="Graf Thomas, INI-NET-VNC-E2E" userId="487bc3e3-9ce7-4cdd-b7b4-8899ea88d289" providerId="ADAL" clId="{4EE20934-90F0-4951-A04F-8F0925AC6572}" dt="2025-03-01T12:00:42.192" v="205" actId="478"/>
          <ac:spMkLst>
            <pc:docMk/>
            <pc:sldMk cId="1184754989" sldId="2145706358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6:23.526" v="178" actId="108"/>
          <ac:spMkLst>
            <pc:docMk/>
            <pc:sldMk cId="1184754989" sldId="2145706358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52:32.903" v="146" actId="20577"/>
          <ac:spMkLst>
            <pc:docMk/>
            <pc:sldMk cId="1184754989" sldId="2145706358"/>
            <ac:spMk id="29" creationId="{8CF09A4F-505D-4C11-B06B-B7F72528EAF0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2:02:47.099" v="211" actId="108"/>
        <pc:sldMkLst>
          <pc:docMk/>
          <pc:sldMk cId="3224161119" sldId="2145706359"/>
        </pc:sldMkLst>
        <pc:spChg chg="mod">
          <ac:chgData name="Graf Thomas, INI-NET-VNC-E2E" userId="487bc3e3-9ce7-4cdd-b7b4-8899ea88d289" providerId="ADAL" clId="{4EE20934-90F0-4951-A04F-8F0925AC6572}" dt="2025-03-01T12:02:47.099" v="211" actId="108"/>
          <ac:spMkLst>
            <pc:docMk/>
            <pc:sldMk cId="3224161119" sldId="2145706359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56:30.640" v="179" actId="108"/>
          <ac:spMkLst>
            <pc:docMk/>
            <pc:sldMk cId="3224161119" sldId="2145706359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2:37.611" v="149" actId="20577"/>
          <ac:spMkLst>
            <pc:docMk/>
            <pc:sldMk cId="3224161119" sldId="2145706359"/>
            <ac:spMk id="18" creationId="{3237B3B6-1C20-C70F-6AC8-021DC43F4482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02:51.562" v="212" actId="108"/>
        <pc:sldMkLst>
          <pc:docMk/>
          <pc:sldMk cId="2763355821" sldId="2145706360"/>
        </pc:sldMkLst>
        <pc:spChg chg="mod">
          <ac:chgData name="Graf Thomas, INI-NET-VNC-E2E" userId="487bc3e3-9ce7-4cdd-b7b4-8899ea88d289" providerId="ADAL" clId="{4EE20934-90F0-4951-A04F-8F0925AC6572}" dt="2025-03-01T12:02:51.562" v="212" actId="108"/>
          <ac:spMkLst>
            <pc:docMk/>
            <pc:sldMk cId="2763355821" sldId="2145706360"/>
            <ac:spMk id="3" creationId="{9690665C-8566-4537-9D7A-7F19909CBCF1}"/>
          </ac:spMkLst>
        </pc:spChg>
        <pc:spChg chg="del">
          <ac:chgData name="Graf Thomas, INI-NET-VNC-E2E" userId="487bc3e3-9ce7-4cdd-b7b4-8899ea88d289" providerId="ADAL" clId="{4EE20934-90F0-4951-A04F-8F0925AC6572}" dt="2025-03-01T12:00:55.952" v="207" actId="478"/>
          <ac:spMkLst>
            <pc:docMk/>
            <pc:sldMk cId="2763355821" sldId="2145706360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6:36.977" v="180" actId="108"/>
          <ac:spMkLst>
            <pc:docMk/>
            <pc:sldMk cId="2763355821" sldId="2145706360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52:42.626" v="152" actId="20577"/>
          <ac:spMkLst>
            <pc:docMk/>
            <pc:sldMk cId="2763355821" sldId="2145706360"/>
            <ac:spMk id="29" creationId="{8CF09A4F-505D-4C11-B06B-B7F72528EAF0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2:02:55.496" v="213" actId="108"/>
        <pc:sldMkLst>
          <pc:docMk/>
          <pc:sldMk cId="2580816508" sldId="2145706361"/>
        </pc:sldMkLst>
        <pc:spChg chg="mod">
          <ac:chgData name="Graf Thomas, INI-NET-VNC-E2E" userId="487bc3e3-9ce7-4cdd-b7b4-8899ea88d289" providerId="ADAL" clId="{4EE20934-90F0-4951-A04F-8F0925AC6572}" dt="2025-03-01T12:02:55.496" v="213" actId="108"/>
          <ac:spMkLst>
            <pc:docMk/>
            <pc:sldMk cId="2580816508" sldId="2145706361"/>
            <ac:spMk id="3" creationId="{9690665C-8566-4537-9D7A-7F19909CBCF1}"/>
          </ac:spMkLst>
        </pc:spChg>
        <pc:spChg chg="mod">
          <ac:chgData name="Graf Thomas, INI-NET-VNC-E2E" userId="487bc3e3-9ce7-4cdd-b7b4-8899ea88d289" providerId="ADAL" clId="{4EE20934-90F0-4951-A04F-8F0925AC6572}" dt="2025-03-01T11:56:45.883" v="181" actId="108"/>
          <ac:spMkLst>
            <pc:docMk/>
            <pc:sldMk cId="2580816508" sldId="2145706361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2:46.224" v="153" actId="20577"/>
          <ac:spMkLst>
            <pc:docMk/>
            <pc:sldMk cId="2580816508" sldId="2145706361"/>
            <ac:spMk id="18" creationId="{3237B3B6-1C20-C70F-6AC8-021DC43F4482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1:57:06.113" v="183" actId="108"/>
        <pc:sldMkLst>
          <pc:docMk/>
          <pc:sldMk cId="2171386813" sldId="2145706362"/>
        </pc:sldMkLst>
        <pc:spChg chg="mod">
          <ac:chgData name="Graf Thomas, INI-NET-VNC-E2E" userId="487bc3e3-9ce7-4cdd-b7b4-8899ea88d289" providerId="ADAL" clId="{4EE20934-90F0-4951-A04F-8F0925AC6572}" dt="2025-03-01T11:53:04.100" v="163" actId="20577"/>
          <ac:spMkLst>
            <pc:docMk/>
            <pc:sldMk cId="2171386813" sldId="2145706362"/>
            <ac:spMk id="6" creationId="{85EE99CE-34DF-BCC2-9317-9EF7E8D5A7FF}"/>
          </ac:spMkLst>
        </pc:spChg>
        <pc:spChg chg="mod">
          <ac:chgData name="Graf Thomas, INI-NET-VNC-E2E" userId="487bc3e3-9ce7-4cdd-b7b4-8899ea88d289" providerId="ADAL" clId="{4EE20934-90F0-4951-A04F-8F0925AC6572}" dt="2025-03-01T11:57:06.113" v="183" actId="108"/>
          <ac:spMkLst>
            <pc:docMk/>
            <pc:sldMk cId="2171386813" sldId="2145706362"/>
            <ac:spMk id="8" creationId="{FBE5644D-AF4A-4732-B3D8-A1D12FF5A0D4}"/>
          </ac:spMkLst>
        </pc:spChg>
        <pc:spChg chg="mod">
          <ac:chgData name="Graf Thomas, INI-NET-VNC-E2E" userId="487bc3e3-9ce7-4cdd-b7b4-8899ea88d289" providerId="ADAL" clId="{4EE20934-90F0-4951-A04F-8F0925AC6572}" dt="2025-03-01T11:53:01.388" v="159" actId="20577"/>
          <ac:spMkLst>
            <pc:docMk/>
            <pc:sldMk cId="2171386813" sldId="2145706362"/>
            <ac:spMk id="18" creationId="{3237B3B6-1C20-C70F-6AC8-021DC43F4482}"/>
          </ac:spMkLst>
        </pc:spChg>
      </pc:sldChg>
      <pc:sldChg chg="delSp modSp mod">
        <pc:chgData name="Graf Thomas, INI-NET-VNC-E2E" userId="487bc3e3-9ce7-4cdd-b7b4-8899ea88d289" providerId="ADAL" clId="{4EE20934-90F0-4951-A04F-8F0925AC6572}" dt="2025-03-01T12:03:03.783" v="214" actId="108"/>
        <pc:sldMkLst>
          <pc:docMk/>
          <pc:sldMk cId="3006054086" sldId="2145706363"/>
        </pc:sldMkLst>
        <pc:spChg chg="mod">
          <ac:chgData name="Graf Thomas, INI-NET-VNC-E2E" userId="487bc3e3-9ce7-4cdd-b7b4-8899ea88d289" providerId="ADAL" clId="{4EE20934-90F0-4951-A04F-8F0925AC6572}" dt="2025-03-01T12:03:03.783" v="214" actId="108"/>
          <ac:spMkLst>
            <pc:docMk/>
            <pc:sldMk cId="3006054086" sldId="2145706363"/>
            <ac:spMk id="3" creationId="{9690665C-8566-4537-9D7A-7F19909CBCF1}"/>
          </ac:spMkLst>
        </pc:spChg>
        <pc:spChg chg="del">
          <ac:chgData name="Graf Thomas, INI-NET-VNC-E2E" userId="487bc3e3-9ce7-4cdd-b7b4-8899ea88d289" providerId="ADAL" clId="{4EE20934-90F0-4951-A04F-8F0925AC6572}" dt="2025-03-01T12:00:58.789" v="208" actId="478"/>
          <ac:spMkLst>
            <pc:docMk/>
            <pc:sldMk cId="3006054086" sldId="2145706363"/>
            <ac:spMk id="24" creationId="{7F0854E4-A574-BB47-B958-0EBEDADE71C3}"/>
          </ac:spMkLst>
        </pc:spChg>
        <pc:spChg chg="mod">
          <ac:chgData name="Graf Thomas, INI-NET-VNC-E2E" userId="487bc3e3-9ce7-4cdd-b7b4-8899ea88d289" providerId="ADAL" clId="{4EE20934-90F0-4951-A04F-8F0925AC6572}" dt="2025-03-01T11:57:14.214" v="184" actId="108"/>
          <ac:spMkLst>
            <pc:docMk/>
            <pc:sldMk cId="3006054086" sldId="2145706363"/>
            <ac:spMk id="28" creationId="{609B7BD8-8C5C-4869-87BD-E33E2C27958C}"/>
          </ac:spMkLst>
        </pc:spChg>
        <pc:spChg chg="mod">
          <ac:chgData name="Graf Thomas, INI-NET-VNC-E2E" userId="487bc3e3-9ce7-4cdd-b7b4-8899ea88d289" providerId="ADAL" clId="{4EE20934-90F0-4951-A04F-8F0925AC6572}" dt="2025-03-01T11:53:09.970" v="165" actId="20577"/>
          <ac:spMkLst>
            <pc:docMk/>
            <pc:sldMk cId="3006054086" sldId="2145706363"/>
            <ac:spMk id="29" creationId="{8CF09A4F-505D-4C11-B06B-B7F72528EAF0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1:57:21.255" v="185" actId="108"/>
        <pc:sldMkLst>
          <pc:docMk/>
          <pc:sldMk cId="977019201" sldId="2145706364"/>
        </pc:sldMkLst>
        <pc:spChg chg="mod">
          <ac:chgData name="Graf Thomas, INI-NET-VNC-E2E" userId="487bc3e3-9ce7-4cdd-b7b4-8899ea88d289" providerId="ADAL" clId="{4EE20934-90F0-4951-A04F-8F0925AC6572}" dt="2025-03-01T11:57:21.255" v="185" actId="108"/>
          <ac:spMkLst>
            <pc:docMk/>
            <pc:sldMk cId="977019201" sldId="2145706364"/>
            <ac:spMk id="8" creationId="{FBE5644D-AF4A-4732-B3D8-A1D12FF5A0D4}"/>
          </ac:spMkLst>
        </pc:spChg>
      </pc:sldChg>
      <pc:sldChg chg="modSp mod">
        <pc:chgData name="Graf Thomas, INI-NET-VNC-E2E" userId="487bc3e3-9ce7-4cdd-b7b4-8899ea88d289" providerId="ADAL" clId="{4EE20934-90F0-4951-A04F-8F0925AC6572}" dt="2025-03-01T11:57:25.690" v="186" actId="108"/>
        <pc:sldMkLst>
          <pc:docMk/>
          <pc:sldMk cId="709752782" sldId="2145706365"/>
        </pc:sldMkLst>
        <pc:spChg chg="mod">
          <ac:chgData name="Graf Thomas, INI-NET-VNC-E2E" userId="487bc3e3-9ce7-4cdd-b7b4-8899ea88d289" providerId="ADAL" clId="{4EE20934-90F0-4951-A04F-8F0925AC6572}" dt="2025-03-01T11:57:25.690" v="186" actId="108"/>
          <ac:spMkLst>
            <pc:docMk/>
            <pc:sldMk cId="709752782" sldId="2145706365"/>
            <ac:spMk id="8" creationId="{FBE5644D-AF4A-4732-B3D8-A1D12FF5A0D4}"/>
          </ac:spMkLst>
        </pc:spChg>
      </pc:sldChg>
    </pc:docChg>
  </pc:docChgLst>
  <pc:docChgLst>
    <pc:chgData name="Graf Thomas, INI-NET-VNC-HCS" userId="487bc3e3-9ce7-4cdd-b7b4-8899ea88d289" providerId="ADAL" clId="{3663A84C-79C5-48AF-B3E1-03B433D898CA}"/>
    <pc:docChg chg="undo custSel addSld delSld modSld sldOrd delMainMaster">
      <pc:chgData name="Graf Thomas, INI-NET-VNC-HCS" userId="487bc3e3-9ce7-4cdd-b7b4-8899ea88d289" providerId="ADAL" clId="{3663A84C-79C5-48AF-B3E1-03B433D898CA}" dt="2024-09-06T11:53:39.677" v="1053" actId="20577"/>
      <pc:docMkLst>
        <pc:docMk/>
      </pc:docMkLst>
      <pc:sldChg chg="modSp mod">
        <pc:chgData name="Graf Thomas, INI-NET-VNC-HCS" userId="487bc3e3-9ce7-4cdd-b7b4-8899ea88d289" providerId="ADAL" clId="{3663A84C-79C5-48AF-B3E1-03B433D898CA}" dt="2024-09-06T09:51:13.834" v="645" actId="113"/>
        <pc:sldMkLst>
          <pc:docMk/>
          <pc:sldMk cId="3578665336" sldId="1041"/>
        </pc:sldMkLst>
        <pc:spChg chg="mod">
          <ac:chgData name="Graf Thomas, INI-NET-VNC-HCS" userId="487bc3e3-9ce7-4cdd-b7b4-8899ea88d289" providerId="ADAL" clId="{3663A84C-79C5-48AF-B3E1-03B433D898CA}" dt="2024-09-06T09:51:13.834" v="645" actId="113"/>
          <ac:spMkLst>
            <pc:docMk/>
            <pc:sldMk cId="3578665336" sldId="1041"/>
            <ac:spMk id="5" creationId="{C26208B2-0D10-4C23-B2DE-372A62E98644}"/>
          </ac:spMkLst>
        </pc:spChg>
        <pc:spChg chg="mod">
          <ac:chgData name="Graf Thomas, INI-NET-VNC-HCS" userId="487bc3e3-9ce7-4cdd-b7b4-8899ea88d289" providerId="ADAL" clId="{3663A84C-79C5-48AF-B3E1-03B433D898CA}" dt="2024-09-06T08:45:42.898" v="67" actId="20577"/>
          <ac:spMkLst>
            <pc:docMk/>
            <pc:sldMk cId="3578665336" sldId="1041"/>
            <ac:spMk id="6" creationId="{6CAA0765-1318-4A03-8F91-D3ECC43D8FA7}"/>
          </ac:spMkLst>
        </pc:spChg>
      </pc:sldChg>
      <pc:sldChg chg="del">
        <pc:chgData name="Graf Thomas, INI-NET-VNC-HCS" userId="487bc3e3-9ce7-4cdd-b7b4-8899ea88d289" providerId="ADAL" clId="{3663A84C-79C5-48AF-B3E1-03B433D898CA}" dt="2024-09-06T08:46:09.720" v="68" actId="47"/>
        <pc:sldMkLst>
          <pc:docMk/>
          <pc:sldMk cId="3384652948" sldId="214570622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330400467" sldId="214570624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710622215" sldId="214570624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3592915" sldId="2145706248"/>
        </pc:sldMkLst>
      </pc:sldChg>
      <pc:sldChg chg="delSp modSp add del mod">
        <pc:chgData name="Graf Thomas, INI-NET-VNC-HCS" userId="487bc3e3-9ce7-4cdd-b7b4-8899ea88d289" providerId="ADAL" clId="{3663A84C-79C5-48AF-B3E1-03B433D898CA}" dt="2024-09-06T09:35:09.675" v="572" actId="47"/>
        <pc:sldMkLst>
          <pc:docMk/>
          <pc:sldMk cId="316318159" sldId="2145706252"/>
        </pc:sldMkLst>
        <pc:spChg chg="del">
          <ac:chgData name="Graf Thomas, INI-NET-VNC-HCS" userId="487bc3e3-9ce7-4cdd-b7b4-8899ea88d289" providerId="ADAL" clId="{3663A84C-79C5-48AF-B3E1-03B433D898CA}" dt="2024-09-06T08:57:43.545" v="93" actId="478"/>
          <ac:spMkLst>
            <pc:docMk/>
            <pc:sldMk cId="316318159" sldId="2145706252"/>
            <ac:spMk id="5" creationId="{580E511C-E2B3-30D9-318A-D0514B703F1B}"/>
          </ac:spMkLst>
        </pc:spChg>
        <pc:spChg chg="mod">
          <ac:chgData name="Graf Thomas, INI-NET-VNC-HCS" userId="487bc3e3-9ce7-4cdd-b7b4-8899ea88d289" providerId="ADAL" clId="{3663A84C-79C5-48AF-B3E1-03B433D898CA}" dt="2024-09-06T09:31:25.716" v="549" actId="6549"/>
          <ac:spMkLst>
            <pc:docMk/>
            <pc:sldMk cId="316318159" sldId="2145706252"/>
            <ac:spMk id="14" creationId="{08CBAA49-8C50-4BBA-B474-64DAD99FD5A0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5" creationId="{E79FDD6D-9F75-4AFA-82DB-2B96D6D9E01B}"/>
          </ac:spMkLst>
        </pc:spChg>
        <pc:spChg chg="del">
          <ac:chgData name="Graf Thomas, INI-NET-VNC-HCS" userId="487bc3e3-9ce7-4cdd-b7b4-8899ea88d289" providerId="ADAL" clId="{3663A84C-79C5-48AF-B3E1-03B433D898CA}" dt="2024-09-06T08:53:44.221" v="88" actId="478"/>
          <ac:spMkLst>
            <pc:docMk/>
            <pc:sldMk cId="316318159" sldId="2145706252"/>
            <ac:spMk id="16" creationId="{082F007D-870C-420B-B275-0D94CF807CDB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7" creationId="{E93810E2-6DE6-4406-AD4F-4A0F58C3FDC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3" creationId="{D8A77483-C2E2-4B4E-A644-4E33880949F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4" creationId="{127FE108-E799-456B-944D-5FCC031C5CCB}"/>
          </ac:spMkLst>
        </pc:spChg>
        <pc:picChg chg="del">
          <ac:chgData name="Graf Thomas, INI-NET-VNC-HCS" userId="487bc3e3-9ce7-4cdd-b7b4-8899ea88d289" providerId="ADAL" clId="{3663A84C-79C5-48AF-B3E1-03B433D898CA}" dt="2024-09-06T08:57:41.406" v="90" actId="478"/>
          <ac:picMkLst>
            <pc:docMk/>
            <pc:sldMk cId="316318159" sldId="2145706252"/>
            <ac:picMk id="4" creationId="{6885E525-BFDE-6F29-C5B5-EEDA1382F016}"/>
          </ac:picMkLst>
        </pc:picChg>
        <pc:picChg chg="del">
          <ac:chgData name="Graf Thomas, INI-NET-VNC-HCS" userId="487bc3e3-9ce7-4cdd-b7b4-8899ea88d289" providerId="ADAL" clId="{3663A84C-79C5-48AF-B3E1-03B433D898CA}" dt="2024-09-06T08:57:42.128" v="91" actId="478"/>
          <ac:picMkLst>
            <pc:docMk/>
            <pc:sldMk cId="316318159" sldId="2145706252"/>
            <ac:picMk id="6" creationId="{3E952EE7-52B7-5AD2-DA4A-3F7DCE17DEAE}"/>
          </ac:picMkLst>
        </pc:picChg>
        <pc:picChg chg="del">
          <ac:chgData name="Graf Thomas, INI-NET-VNC-HCS" userId="487bc3e3-9ce7-4cdd-b7b4-8899ea88d289" providerId="ADAL" clId="{3663A84C-79C5-48AF-B3E1-03B433D898CA}" dt="2024-09-06T08:57:46.021" v="95" actId="478"/>
          <ac:picMkLst>
            <pc:docMk/>
            <pc:sldMk cId="316318159" sldId="2145706252"/>
            <ac:picMk id="7" creationId="{36E60867-B7D1-FA36-2E27-BE56B3A5E55A}"/>
          </ac:picMkLst>
        </pc:picChg>
        <pc:picChg chg="del">
          <ac:chgData name="Graf Thomas, INI-NET-VNC-HCS" userId="487bc3e3-9ce7-4cdd-b7b4-8899ea88d289" providerId="ADAL" clId="{3663A84C-79C5-48AF-B3E1-03B433D898CA}" dt="2024-09-06T08:57:48.351" v="99" actId="478"/>
          <ac:picMkLst>
            <pc:docMk/>
            <pc:sldMk cId="316318159" sldId="2145706252"/>
            <ac:picMk id="8" creationId="{481EC9AD-A2C2-2F27-D790-0C628B27C8A0}"/>
          </ac:picMkLst>
        </pc:picChg>
        <pc:picChg chg="del">
          <ac:chgData name="Graf Thomas, INI-NET-VNC-HCS" userId="487bc3e3-9ce7-4cdd-b7b4-8899ea88d289" providerId="ADAL" clId="{3663A84C-79C5-48AF-B3E1-03B433D898CA}" dt="2024-09-06T08:57:46.479" v="96" actId="478"/>
          <ac:picMkLst>
            <pc:docMk/>
            <pc:sldMk cId="316318159" sldId="2145706252"/>
            <ac:picMk id="9" creationId="{2852B7BE-A0AB-6A66-D816-77277542B9B2}"/>
          </ac:picMkLst>
        </pc:picChg>
        <pc:picChg chg="del">
          <ac:chgData name="Graf Thomas, INI-NET-VNC-HCS" userId="487bc3e3-9ce7-4cdd-b7b4-8899ea88d289" providerId="ADAL" clId="{3663A84C-79C5-48AF-B3E1-03B433D898CA}" dt="2024-09-06T08:57:47.735" v="98" actId="478"/>
          <ac:picMkLst>
            <pc:docMk/>
            <pc:sldMk cId="316318159" sldId="2145706252"/>
            <ac:picMk id="10" creationId="{B46420FB-0056-1941-2A7C-6C02ED22021A}"/>
          </ac:picMkLst>
        </pc:picChg>
        <pc:picChg chg="del">
          <ac:chgData name="Graf Thomas, INI-NET-VNC-HCS" userId="487bc3e3-9ce7-4cdd-b7b4-8899ea88d289" providerId="ADAL" clId="{3663A84C-79C5-48AF-B3E1-03B433D898CA}" dt="2024-09-06T08:57:45.377" v="94" actId="478"/>
          <ac:picMkLst>
            <pc:docMk/>
            <pc:sldMk cId="316318159" sldId="2145706252"/>
            <ac:picMk id="11" creationId="{5E9E0143-C32D-784B-D504-8F37BC06BB92}"/>
          </ac:picMkLst>
        </pc:picChg>
        <pc:picChg chg="del">
          <ac:chgData name="Graf Thomas, INI-NET-VNC-HCS" userId="487bc3e3-9ce7-4cdd-b7b4-8899ea88d289" providerId="ADAL" clId="{3663A84C-79C5-48AF-B3E1-03B433D898CA}" dt="2024-09-06T08:57:47.160" v="97" actId="478"/>
          <ac:picMkLst>
            <pc:docMk/>
            <pc:sldMk cId="316318159" sldId="2145706252"/>
            <ac:picMk id="12" creationId="{EDD34E0D-DF99-C16C-AF2E-B9F31479B790}"/>
          </ac:picMkLst>
        </pc:picChg>
        <pc:picChg chg="del">
          <ac:chgData name="Graf Thomas, INI-NET-VNC-HCS" userId="487bc3e3-9ce7-4cdd-b7b4-8899ea88d289" providerId="ADAL" clId="{3663A84C-79C5-48AF-B3E1-03B433D898CA}" dt="2024-09-06T08:57:42.756" v="92" actId="478"/>
          <ac:picMkLst>
            <pc:docMk/>
            <pc:sldMk cId="316318159" sldId="2145706252"/>
            <ac:picMk id="18" creationId="{542EBDB7-07EC-0AD1-2FC2-338D3BA7E159}"/>
          </ac:picMkLst>
        </pc:picChg>
        <pc:picChg chg="del">
          <ac:chgData name="Graf Thomas, INI-NET-VNC-HCS" userId="487bc3e3-9ce7-4cdd-b7b4-8899ea88d289" providerId="ADAL" clId="{3663A84C-79C5-48AF-B3E1-03B433D898CA}" dt="2024-09-06T08:57:49.010" v="100" actId="478"/>
          <ac:picMkLst>
            <pc:docMk/>
            <pc:sldMk cId="316318159" sldId="2145706252"/>
            <ac:picMk id="19" creationId="{2FA5FA4D-731D-D891-A4B3-9F44549AE3FB}"/>
          </ac:picMkLst>
        </pc:picChg>
        <pc:picChg chg="del">
          <ac:chgData name="Graf Thomas, INI-NET-VNC-HCS" userId="487bc3e3-9ce7-4cdd-b7b4-8899ea88d289" providerId="ADAL" clId="{3663A84C-79C5-48AF-B3E1-03B433D898CA}" dt="2024-09-06T08:57:40.760" v="89" actId="478"/>
          <ac:picMkLst>
            <pc:docMk/>
            <pc:sldMk cId="316318159" sldId="2145706252"/>
            <ac:picMk id="20" creationId="{CDD8C5D2-B773-43F6-AC51-25C90CB1C916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5:17.424" v="657" actId="14100"/>
        <pc:sldMkLst>
          <pc:docMk/>
          <pc:sldMk cId="1690469041" sldId="2145706256"/>
        </pc:sldMkLst>
        <pc:spChg chg="add mod">
          <ac:chgData name="Graf Thomas, INI-NET-VNC-HCS" userId="487bc3e3-9ce7-4cdd-b7b4-8899ea88d289" providerId="ADAL" clId="{3663A84C-79C5-48AF-B3E1-03B433D898CA}" dt="2024-09-06T09:24:26.628" v="360" actId="255"/>
          <ac:spMkLst>
            <pc:docMk/>
            <pc:sldMk cId="1690469041" sldId="2145706256"/>
            <ac:spMk id="2" creationId="{7024C12A-6CB5-0B2D-EBE6-3BB7111B69E0}"/>
          </ac:spMkLst>
        </pc:spChg>
        <pc:spChg chg="add del mod">
          <ac:chgData name="Graf Thomas, INI-NET-VNC-HCS" userId="487bc3e3-9ce7-4cdd-b7b4-8899ea88d289" providerId="ADAL" clId="{3663A84C-79C5-48AF-B3E1-03B433D898CA}" dt="2024-09-06T09:12:18.170" v="298" actId="478"/>
          <ac:spMkLst>
            <pc:docMk/>
            <pc:sldMk cId="1690469041" sldId="2145706256"/>
            <ac:spMk id="5" creationId="{DA4EE954-2DCD-8ACD-462F-9CFE2B0AB7E3}"/>
          </ac:spMkLst>
        </pc:spChg>
        <pc:spChg chg="del mod">
          <ac:chgData name="Graf Thomas, INI-NET-VNC-HCS" userId="487bc3e3-9ce7-4cdd-b7b4-8899ea88d289" providerId="ADAL" clId="{3663A84C-79C5-48AF-B3E1-03B433D898CA}" dt="2024-09-06T09:12:15.618" v="297" actId="478"/>
          <ac:spMkLst>
            <pc:docMk/>
            <pc:sldMk cId="1690469041" sldId="214570625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5:12.029" v="656" actId="255"/>
          <ac:spMkLst>
            <pc:docMk/>
            <pc:sldMk cId="1690469041" sldId="2145706256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11:35:03.046" v="655" actId="255"/>
          <ac:spMkLst>
            <pc:docMk/>
            <pc:sldMk cId="1690469041" sldId="2145706256"/>
            <ac:spMk id="18" creationId="{3237B3B6-1C20-C70F-6AC8-021DC43F4482}"/>
          </ac:spMkLst>
        </pc:spChg>
        <pc:spChg chg="mod">
          <ac:chgData name="Graf Thomas, INI-NET-VNC-HCS" userId="487bc3e3-9ce7-4cdd-b7b4-8899ea88d289" providerId="ADAL" clId="{3663A84C-79C5-48AF-B3E1-03B433D898CA}" dt="2024-09-06T11:35:12.029" v="656" actId="255"/>
          <ac:spMkLst>
            <pc:docMk/>
            <pc:sldMk cId="1690469041" sldId="2145706256"/>
            <ac:spMk id="54" creationId="{3FE90F28-276C-1DF2-1F07-37BE763FC268}"/>
          </ac:spMkLst>
        </pc:spChg>
        <pc:picChg chg="add mod ord">
          <ac:chgData name="Graf Thomas, INI-NET-VNC-HCS" userId="487bc3e3-9ce7-4cdd-b7b4-8899ea88d289" providerId="ADAL" clId="{3663A84C-79C5-48AF-B3E1-03B433D898CA}" dt="2024-09-06T09:20:21.941" v="332" actId="167"/>
          <ac:picMkLst>
            <pc:docMk/>
            <pc:sldMk cId="1690469041" sldId="2145706256"/>
            <ac:picMk id="7" creationId="{33070F97-5D79-7BE4-BAC2-315966453B0B}"/>
          </ac:picMkLst>
        </pc:picChg>
        <pc:picChg chg="del mod">
          <ac:chgData name="Graf Thomas, INI-NET-VNC-HCS" userId="487bc3e3-9ce7-4cdd-b7b4-8899ea88d289" providerId="ADAL" clId="{3663A84C-79C5-48AF-B3E1-03B433D898CA}" dt="2024-09-06T09:20:23.960" v="333" actId="478"/>
          <ac:picMkLst>
            <pc:docMk/>
            <pc:sldMk cId="1690469041" sldId="2145706256"/>
            <ac:picMk id="48" creationId="{99177086-C416-5539-43C8-4A465BE7037A}"/>
          </ac:picMkLst>
        </pc:picChg>
        <pc:cxnChg chg="mod">
          <ac:chgData name="Graf Thomas, INI-NET-VNC-HCS" userId="487bc3e3-9ce7-4cdd-b7b4-8899ea88d289" providerId="ADAL" clId="{3663A84C-79C5-48AF-B3E1-03B433D898CA}" dt="2024-09-06T11:35:17.424" v="657" actId="14100"/>
          <ac:cxnSpMkLst>
            <pc:docMk/>
            <pc:sldMk cId="1690469041" sldId="2145706256"/>
            <ac:cxnSpMk id="30" creationId="{4E3B13FB-8CA7-B3DE-FF7A-B5744D340B82}"/>
          </ac:cxnSpMkLst>
        </pc:cxnChg>
      </pc:sldChg>
      <pc:sldChg chg="add del">
        <pc:chgData name="Graf Thomas, INI-NET-VNC-HCS" userId="487bc3e3-9ce7-4cdd-b7b4-8899ea88d289" providerId="ADAL" clId="{3663A84C-79C5-48AF-B3E1-03B433D898CA}" dt="2024-09-06T08:47:40.393" v="73" actId="47"/>
        <pc:sldMkLst>
          <pc:docMk/>
          <pc:sldMk cId="85069519" sldId="2145706259"/>
        </pc:sldMkLst>
      </pc:sldChg>
      <pc:sldChg chg="modSp mod">
        <pc:chgData name="Graf Thomas, INI-NET-VNC-HCS" userId="487bc3e3-9ce7-4cdd-b7b4-8899ea88d289" providerId="ADAL" clId="{3663A84C-79C5-48AF-B3E1-03B433D898CA}" dt="2024-09-06T08:47:42.866" v="74" actId="20577"/>
        <pc:sldMkLst>
          <pc:docMk/>
          <pc:sldMk cId="1302469771" sldId="2145706275"/>
        </pc:sldMkLst>
        <pc:spChg chg="mod">
          <ac:chgData name="Graf Thomas, INI-NET-VNC-HCS" userId="487bc3e3-9ce7-4cdd-b7b4-8899ea88d289" providerId="ADAL" clId="{3663A84C-79C5-48AF-B3E1-03B433D898CA}" dt="2024-09-06T08:47:42.866" v="74" actId="20577"/>
          <ac:spMkLst>
            <pc:docMk/>
            <pc:sldMk cId="1302469771" sldId="2145706275"/>
            <ac:spMk id="13" creationId="{509802C0-BFFB-9B0F-A529-E60CDD518439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14.839" v="638" actId="20577"/>
        <pc:sldMkLst>
          <pc:docMk/>
          <pc:sldMk cId="492372888" sldId="2145706282"/>
        </pc:sldMkLst>
        <pc:spChg chg="mod">
          <ac:chgData name="Graf Thomas, INI-NET-VNC-HCS" userId="487bc3e3-9ce7-4cdd-b7b4-8899ea88d289" providerId="ADAL" clId="{3663A84C-79C5-48AF-B3E1-03B433D898CA}" dt="2024-09-06T09:50:01.074" v="637" actId="20577"/>
          <ac:spMkLst>
            <pc:docMk/>
            <pc:sldMk cId="492372888" sldId="2145706282"/>
            <ac:spMk id="20" creationId="{6DEE297B-FA92-D4CB-4DB8-B62139988C22}"/>
          </ac:spMkLst>
        </pc:spChg>
        <pc:spChg chg="mod">
          <ac:chgData name="Graf Thomas, INI-NET-VNC-HCS" userId="487bc3e3-9ce7-4cdd-b7b4-8899ea88d289" providerId="ADAL" clId="{3663A84C-79C5-48AF-B3E1-03B433D898CA}" dt="2024-09-06T09:50:14.839" v="638" actId="20577"/>
          <ac:spMkLst>
            <pc:docMk/>
            <pc:sldMk cId="492372888" sldId="2145706282"/>
            <ac:spMk id="23" creationId="{91B0341B-389C-4CE5-4F90-6C77E3EDD7E5}"/>
          </ac:spMkLst>
        </pc:spChg>
        <pc:spChg chg="mod">
          <ac:chgData name="Graf Thomas, INI-NET-VNC-HCS" userId="487bc3e3-9ce7-4cdd-b7b4-8899ea88d289" providerId="ADAL" clId="{3663A84C-79C5-48AF-B3E1-03B433D898CA}" dt="2024-09-06T09:49:50.433" v="635" actId="20577"/>
          <ac:spMkLst>
            <pc:docMk/>
            <pc:sldMk cId="492372888" sldId="2145706282"/>
            <ac:spMk id="231" creationId="{00000000-0000-0000-0000-000000000000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38.051" v="641" actId="20577"/>
        <pc:sldMkLst>
          <pc:docMk/>
          <pc:sldMk cId="1108719720" sldId="2145706283"/>
        </pc:sldMkLst>
        <pc:spChg chg="mod">
          <ac:chgData name="Graf Thomas, INI-NET-VNC-HCS" userId="487bc3e3-9ce7-4cdd-b7b4-8899ea88d289" providerId="ADAL" clId="{3663A84C-79C5-48AF-B3E1-03B433D898CA}" dt="2024-09-06T09:50:38.051" v="641" actId="20577"/>
          <ac:spMkLst>
            <pc:docMk/>
            <pc:sldMk cId="1108719720" sldId="2145706283"/>
            <ac:spMk id="29" creationId="{809AFD71-3FC6-697F-22C0-8EC176FB8038}"/>
          </ac:spMkLst>
        </pc:spChg>
        <pc:spChg chg="mod">
          <ac:chgData name="Graf Thomas, INI-NET-VNC-HCS" userId="487bc3e3-9ce7-4cdd-b7b4-8899ea88d289" providerId="ADAL" clId="{3663A84C-79C5-48AF-B3E1-03B433D898CA}" dt="2024-09-06T09:50:22.432" v="639" actId="20577"/>
          <ac:spMkLst>
            <pc:docMk/>
            <pc:sldMk cId="1108719720" sldId="2145706283"/>
            <ac:spMk id="31" creationId="{6A6F152D-314F-BC9C-874B-092EFB581BAC}"/>
          </ac:spMkLst>
        </pc:spChg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587501498" sldId="214570628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06087439" sldId="2145706288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265367659" sldId="2145706289"/>
        </pc:sldMkLst>
      </pc:sldChg>
      <pc:sldChg chg="delSp modSp add mod">
        <pc:chgData name="Graf Thomas, INI-NET-VNC-HCS" userId="487bc3e3-9ce7-4cdd-b7b4-8899ea88d289" providerId="ADAL" clId="{3663A84C-79C5-48AF-B3E1-03B433D898CA}" dt="2024-09-06T11:41:49.992" v="723" actId="14100"/>
        <pc:sldMkLst>
          <pc:docMk/>
          <pc:sldMk cId="3254418192" sldId="2145706290"/>
        </pc:sldMkLst>
        <pc:spChg chg="mod">
          <ac:chgData name="Graf Thomas, INI-NET-VNC-HCS" userId="487bc3e3-9ce7-4cdd-b7b4-8899ea88d289" providerId="ADAL" clId="{3663A84C-79C5-48AF-B3E1-03B433D898CA}" dt="2024-09-06T11:36:24.730" v="661" actId="14100"/>
          <ac:spMkLst>
            <pc:docMk/>
            <pc:sldMk cId="3254418192" sldId="2145706290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4:30.414" v="652" actId="255"/>
          <ac:spMkLst>
            <pc:docMk/>
            <pc:sldMk cId="3254418192" sldId="2145706290"/>
            <ac:spMk id="15" creationId="{B5CDDA56-B5D8-4C49-8CCA-DCA4A19F195F}"/>
          </ac:spMkLst>
        </pc:spChg>
        <pc:spChg chg="mod">
          <ac:chgData name="Graf Thomas, INI-NET-VNC-HCS" userId="487bc3e3-9ce7-4cdd-b7b4-8899ea88d289" providerId="ADAL" clId="{3663A84C-79C5-48AF-B3E1-03B433D898CA}" dt="2024-09-06T11:40:30.717" v="699" actId="20577"/>
          <ac:spMkLst>
            <pc:docMk/>
            <pc:sldMk cId="3254418192" sldId="2145706290"/>
            <ac:spMk id="23" creationId="{200CBF14-04EF-4232-9E86-69C8CB496988}"/>
          </ac:spMkLst>
        </pc:spChg>
        <pc:spChg chg="del">
          <ac:chgData name="Graf Thomas, INI-NET-VNC-HCS" userId="487bc3e3-9ce7-4cdd-b7b4-8899ea88d289" providerId="ADAL" clId="{3663A84C-79C5-48AF-B3E1-03B433D898CA}" dt="2024-09-06T08:53:03.930" v="85" actId="478"/>
          <ac:spMkLst>
            <pc:docMk/>
            <pc:sldMk cId="3254418192" sldId="2145706290"/>
            <ac:spMk id="24" creationId="{7F0854E4-A574-BB47-B958-0EBEDADE71C3}"/>
          </ac:spMkLst>
        </pc:spChg>
        <pc:picChg chg="mod">
          <ac:chgData name="Graf Thomas, INI-NET-VNC-HCS" userId="487bc3e3-9ce7-4cdd-b7b4-8899ea88d289" providerId="ADAL" clId="{3663A84C-79C5-48AF-B3E1-03B433D898CA}" dt="2024-09-06T11:41:12.574" v="713" actId="1076"/>
          <ac:picMkLst>
            <pc:docMk/>
            <pc:sldMk cId="3254418192" sldId="2145706290"/>
            <ac:picMk id="2" creationId="{104586A3-D638-9D3A-739F-52AD87B0ABA8}"/>
          </ac:picMkLst>
        </pc:picChg>
        <pc:picChg chg="mod">
          <ac:chgData name="Graf Thomas, INI-NET-VNC-HCS" userId="487bc3e3-9ce7-4cdd-b7b4-8899ea88d289" providerId="ADAL" clId="{3663A84C-79C5-48AF-B3E1-03B433D898CA}" dt="2024-09-06T11:40:39.210" v="702" actId="1076"/>
          <ac:picMkLst>
            <pc:docMk/>
            <pc:sldMk cId="3254418192" sldId="2145706290"/>
            <ac:picMk id="4" creationId="{4DAC9546-B09D-A0B9-5C6E-D8B53F098514}"/>
          </ac:picMkLst>
        </pc:picChg>
        <pc:picChg chg="mod">
          <ac:chgData name="Graf Thomas, INI-NET-VNC-HCS" userId="487bc3e3-9ce7-4cdd-b7b4-8899ea88d289" providerId="ADAL" clId="{3663A84C-79C5-48AF-B3E1-03B433D898CA}" dt="2024-09-06T11:41:40.261" v="721" actId="1076"/>
          <ac:picMkLst>
            <pc:docMk/>
            <pc:sldMk cId="3254418192" sldId="2145706290"/>
            <ac:picMk id="22" creationId="{9C26D07A-EAA1-1142-73EF-5A3288679C15}"/>
          </ac:picMkLst>
        </pc:picChg>
        <pc:picChg chg="mod">
          <ac:chgData name="Graf Thomas, INI-NET-VNC-HCS" userId="487bc3e3-9ce7-4cdd-b7b4-8899ea88d289" providerId="ADAL" clId="{3663A84C-79C5-48AF-B3E1-03B433D898CA}" dt="2024-09-06T11:40:36.051" v="700" actId="1076"/>
          <ac:picMkLst>
            <pc:docMk/>
            <pc:sldMk cId="3254418192" sldId="2145706290"/>
            <ac:picMk id="28" creationId="{902489DE-F809-4491-97BA-957BEDA6A2AA}"/>
          </ac:picMkLst>
        </pc:picChg>
        <pc:picChg chg="mod">
          <ac:chgData name="Graf Thomas, INI-NET-VNC-HCS" userId="487bc3e3-9ce7-4cdd-b7b4-8899ea88d289" providerId="ADAL" clId="{3663A84C-79C5-48AF-B3E1-03B433D898CA}" dt="2024-09-06T09:03:54.778" v="174" actId="1036"/>
          <ac:picMkLst>
            <pc:docMk/>
            <pc:sldMk cId="3254418192" sldId="2145706290"/>
            <ac:picMk id="40" creationId="{CE0455F3-D9C5-815D-8F04-352BF98B3E35}"/>
          </ac:picMkLst>
        </pc:picChg>
        <pc:picChg chg="mod">
          <ac:chgData name="Graf Thomas, INI-NET-VNC-HCS" userId="487bc3e3-9ce7-4cdd-b7b4-8899ea88d289" providerId="ADAL" clId="{3663A84C-79C5-48AF-B3E1-03B433D898CA}" dt="2024-09-06T11:40:55.073" v="708" actId="1076"/>
          <ac:picMkLst>
            <pc:docMk/>
            <pc:sldMk cId="3254418192" sldId="2145706290"/>
            <ac:picMk id="46" creationId="{2FFDB0D4-E444-256B-B862-0E2882DF0AB3}"/>
          </ac:picMkLst>
        </pc:picChg>
        <pc:picChg chg="mod">
          <ac:chgData name="Graf Thomas, INI-NET-VNC-HCS" userId="487bc3e3-9ce7-4cdd-b7b4-8899ea88d289" providerId="ADAL" clId="{3663A84C-79C5-48AF-B3E1-03B433D898CA}" dt="2024-09-06T11:40:44.221" v="704" actId="1076"/>
          <ac:picMkLst>
            <pc:docMk/>
            <pc:sldMk cId="3254418192" sldId="2145706290"/>
            <ac:picMk id="49" creationId="{EF6B390E-5877-9297-712A-9BE3172861BB}"/>
          </ac:picMkLst>
        </pc:picChg>
        <pc:cxnChg chg="mod">
          <ac:chgData name="Graf Thomas, INI-NET-VNC-HCS" userId="487bc3e3-9ce7-4cdd-b7b4-8899ea88d289" providerId="ADAL" clId="{3663A84C-79C5-48AF-B3E1-03B433D898CA}" dt="2024-09-06T11:41:49.992" v="723" actId="14100"/>
          <ac:cxnSpMkLst>
            <pc:docMk/>
            <pc:sldMk cId="3254418192" sldId="2145706290"/>
            <ac:cxnSpMk id="5" creationId="{000125EC-6F9E-5557-FFDC-E3069096210F}"/>
          </ac:cxnSpMkLst>
        </pc:cxnChg>
        <pc:cxnChg chg="mod">
          <ac:chgData name="Graf Thomas, INI-NET-VNC-HCS" userId="487bc3e3-9ce7-4cdd-b7b4-8899ea88d289" providerId="ADAL" clId="{3663A84C-79C5-48AF-B3E1-03B433D898CA}" dt="2024-09-06T11:40:40.754" v="703" actId="1076"/>
          <ac:cxnSpMkLst>
            <pc:docMk/>
            <pc:sldMk cId="3254418192" sldId="2145706290"/>
            <ac:cxnSpMk id="30" creationId="{35C02EC7-F8AF-FEEA-2F3A-991690A27758}"/>
          </ac:cxnSpMkLst>
        </pc:cxnChg>
        <pc:cxnChg chg="mod">
          <ac:chgData name="Graf Thomas, INI-NET-VNC-HCS" userId="487bc3e3-9ce7-4cdd-b7b4-8899ea88d289" providerId="ADAL" clId="{3663A84C-79C5-48AF-B3E1-03B433D898CA}" dt="2024-09-06T11:41:33.393" v="719" actId="14100"/>
          <ac:cxnSpMkLst>
            <pc:docMk/>
            <pc:sldMk cId="3254418192" sldId="2145706290"/>
            <ac:cxnSpMk id="32" creationId="{A7E66736-C5E9-2C83-DF64-1A2A72348EFD}"/>
          </ac:cxnSpMkLst>
        </pc:cxnChg>
        <pc:cxnChg chg="mod">
          <ac:chgData name="Graf Thomas, INI-NET-VNC-HCS" userId="487bc3e3-9ce7-4cdd-b7b4-8899ea88d289" providerId="ADAL" clId="{3663A84C-79C5-48AF-B3E1-03B433D898CA}" dt="2024-09-06T11:41:36.781" v="720" actId="1076"/>
          <ac:cxnSpMkLst>
            <pc:docMk/>
            <pc:sldMk cId="3254418192" sldId="2145706290"/>
            <ac:cxnSpMk id="34" creationId="{ECCB1A70-0E59-E058-9E02-E545175E4CA7}"/>
          </ac:cxnSpMkLst>
        </pc:cxnChg>
        <pc:cxnChg chg="mod">
          <ac:chgData name="Graf Thomas, INI-NET-VNC-HCS" userId="487bc3e3-9ce7-4cdd-b7b4-8899ea88d289" providerId="ADAL" clId="{3663A84C-79C5-48AF-B3E1-03B433D898CA}" dt="2024-09-06T11:40:49.789" v="707" actId="1076"/>
          <ac:cxnSpMkLst>
            <pc:docMk/>
            <pc:sldMk cId="3254418192" sldId="2145706290"/>
            <ac:cxnSpMk id="50" creationId="{A2A693C2-9339-5D7D-2CD4-774A34A596DB}"/>
          </ac:cxnSpMkLst>
        </pc:cxnChg>
      </pc:sldChg>
      <pc:sldChg chg="addSp delSp modSp add mod">
        <pc:chgData name="Graf Thomas, INI-NET-VNC-HCS" userId="487bc3e3-9ce7-4cdd-b7b4-8899ea88d289" providerId="ADAL" clId="{3663A84C-79C5-48AF-B3E1-03B433D898CA}" dt="2024-09-06T09:47:42.276" v="629" actId="478"/>
        <pc:sldMkLst>
          <pc:docMk/>
          <pc:sldMk cId="2567247265" sldId="2145706295"/>
        </pc:sldMkLst>
        <pc:spChg chg="add mod">
          <ac:chgData name="Graf Thomas, INI-NET-VNC-HCS" userId="487bc3e3-9ce7-4cdd-b7b4-8899ea88d289" providerId="ADAL" clId="{3663A84C-79C5-48AF-B3E1-03B433D898CA}" dt="2024-09-06T09:27:36.731" v="440" actId="20577"/>
          <ac:spMkLst>
            <pc:docMk/>
            <pc:sldMk cId="2567247265" sldId="2145706295"/>
            <ac:spMk id="2" creationId="{07CEC421-18B6-6CC4-7808-786AA1B39A7F}"/>
          </ac:spMkLst>
        </pc:spChg>
        <pc:spChg chg="add del mod">
          <ac:chgData name="Graf Thomas, INI-NET-VNC-HCS" userId="487bc3e3-9ce7-4cdd-b7b4-8899ea88d289" providerId="ADAL" clId="{3663A84C-79C5-48AF-B3E1-03B433D898CA}" dt="2024-09-06T09:26:53.797" v="385" actId="478"/>
          <ac:spMkLst>
            <pc:docMk/>
            <pc:sldMk cId="2567247265" sldId="2145706295"/>
            <ac:spMk id="5" creationId="{F63F8B4B-1C3B-AB3E-87B1-C0C10A889AF5}"/>
          </ac:spMkLst>
        </pc:spChg>
        <pc:spChg chg="del mod">
          <ac:chgData name="Graf Thomas, INI-NET-VNC-HCS" userId="487bc3e3-9ce7-4cdd-b7b4-8899ea88d289" providerId="ADAL" clId="{3663A84C-79C5-48AF-B3E1-03B433D898CA}" dt="2024-09-06T09:26:51.602" v="384" actId="478"/>
          <ac:spMkLst>
            <pc:docMk/>
            <pc:sldMk cId="2567247265" sldId="214570629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39.320" v="344" actId="20577"/>
          <ac:spMkLst>
            <pc:docMk/>
            <pc:sldMk cId="2567247265" sldId="214570629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35.856" v="342" actId="20577"/>
          <ac:spMkLst>
            <pc:docMk/>
            <pc:sldMk cId="2567247265" sldId="2145706295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7:06.664" v="399" actId="1036"/>
          <ac:picMkLst>
            <pc:docMk/>
            <pc:sldMk cId="2567247265" sldId="2145706295"/>
            <ac:picMk id="6" creationId="{E1DB2D54-B066-C91A-94FF-1079CAF50320}"/>
          </ac:picMkLst>
        </pc:picChg>
        <pc:picChg chg="add mod ord">
          <ac:chgData name="Graf Thomas, INI-NET-VNC-HCS" userId="487bc3e3-9ce7-4cdd-b7b4-8899ea88d289" providerId="ADAL" clId="{3663A84C-79C5-48AF-B3E1-03B433D898CA}" dt="2024-09-06T09:47:40.346" v="628" actId="167"/>
          <ac:picMkLst>
            <pc:docMk/>
            <pc:sldMk cId="2567247265" sldId="2145706295"/>
            <ac:picMk id="9" creationId="{955B4594-EB1D-D6A0-50F1-1EA00D24B002}"/>
          </ac:picMkLst>
        </pc:picChg>
        <pc:picChg chg="del mod">
          <ac:chgData name="Graf Thomas, INI-NET-VNC-HCS" userId="487bc3e3-9ce7-4cdd-b7b4-8899ea88d289" providerId="ADAL" clId="{3663A84C-79C5-48AF-B3E1-03B433D898CA}" dt="2024-09-06T09:47:42.276" v="629" actId="478"/>
          <ac:picMkLst>
            <pc:docMk/>
            <pc:sldMk cId="2567247265" sldId="2145706295"/>
            <ac:picMk id="12" creationId="{941AA2B2-4313-4886-D781-10F3DFA0B7F4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1:34.801" v="605" actId="1035"/>
        <pc:sldMkLst>
          <pc:docMk/>
          <pc:sldMk cId="4185817341" sldId="2145706296"/>
        </pc:sldMkLst>
        <pc:spChg chg="add mod">
          <ac:chgData name="Graf Thomas, INI-NET-VNC-HCS" userId="487bc3e3-9ce7-4cdd-b7b4-8899ea88d289" providerId="ADAL" clId="{3663A84C-79C5-48AF-B3E1-03B433D898CA}" dt="2024-09-06T09:28:04.481" v="443"/>
          <ac:spMkLst>
            <pc:docMk/>
            <pc:sldMk cId="4185817341" sldId="2145706296"/>
            <ac:spMk id="5" creationId="{7FB2D5EC-87E0-1731-E52C-E0613E46B5DC}"/>
          </ac:spMkLst>
        </pc:spChg>
        <pc:spChg chg="add del mod">
          <ac:chgData name="Graf Thomas, INI-NET-VNC-HCS" userId="487bc3e3-9ce7-4cdd-b7b4-8899ea88d289" providerId="ADAL" clId="{3663A84C-79C5-48AF-B3E1-03B433D898CA}" dt="2024-09-06T09:28:10.548" v="445" actId="478"/>
          <ac:spMkLst>
            <pc:docMk/>
            <pc:sldMk cId="4185817341" sldId="2145706296"/>
            <ac:spMk id="8" creationId="{6DC1BF50-C568-7664-4D58-8AFAFF9B6578}"/>
          </ac:spMkLst>
        </pc:spChg>
        <pc:spChg chg="mod">
          <ac:chgData name="Graf Thomas, INI-NET-VNC-HCS" userId="487bc3e3-9ce7-4cdd-b7b4-8899ea88d289" providerId="ADAL" clId="{3663A84C-79C5-48AF-B3E1-03B433D898CA}" dt="2024-09-06T09:41:24.079" v="592" actId="20577"/>
          <ac:spMkLst>
            <pc:docMk/>
            <pc:sldMk cId="4185817341" sldId="2145706296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2.435" v="86" actId="478"/>
          <ac:spMkLst>
            <pc:docMk/>
            <pc:sldMk cId="4185817341" sldId="2145706296"/>
            <ac:spMk id="24" creationId="{7F0854E4-A574-BB47-B958-0EBEDADE71C3}"/>
          </ac:spMkLst>
        </pc:spChg>
        <pc:spChg chg="del mod">
          <ac:chgData name="Graf Thomas, INI-NET-VNC-HCS" userId="487bc3e3-9ce7-4cdd-b7b4-8899ea88d289" providerId="ADAL" clId="{3663A84C-79C5-48AF-B3E1-03B433D898CA}" dt="2024-09-06T09:28:07.497" v="444" actId="478"/>
          <ac:spMkLst>
            <pc:docMk/>
            <pc:sldMk cId="4185817341" sldId="2145706296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15.137" v="509" actId="478"/>
          <ac:spMkLst>
            <pc:docMk/>
            <pc:sldMk cId="4185817341" sldId="2145706296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28:20.756" v="475" actId="1036"/>
          <ac:picMkLst>
            <pc:docMk/>
            <pc:sldMk cId="4185817341" sldId="2145706296"/>
            <ac:picMk id="6" creationId="{EB292EC9-17FD-F129-6756-BAE63EBEF1A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0" creationId="{68324C23-657A-4CAD-F137-1E7D2492D4F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2" creationId="{C579809D-DE35-686E-CFEB-3381B32E74EA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8" creationId="{30BD1EAA-AEC3-D8B1-A9F9-CF48F449F5E9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11:42:49.387" v="731" actId="1076"/>
        <pc:sldMkLst>
          <pc:docMk/>
          <pc:sldMk cId="3326317404" sldId="2145706297"/>
        </pc:sldMkLst>
        <pc:spChg chg="add mod">
          <ac:chgData name="Graf Thomas, INI-NET-VNC-HCS" userId="487bc3e3-9ce7-4cdd-b7b4-8899ea88d289" providerId="ADAL" clId="{3663A84C-79C5-48AF-B3E1-03B433D898CA}" dt="2024-09-06T09:24:02.220" v="356" actId="255"/>
          <ac:spMkLst>
            <pc:docMk/>
            <pc:sldMk cId="3326317404" sldId="2145706297"/>
            <ac:spMk id="2" creationId="{5939124C-67BA-49D8-5E9E-97A906154C57}"/>
          </ac:spMkLst>
        </pc:spChg>
        <pc:spChg chg="mod">
          <ac:chgData name="Graf Thomas, INI-NET-VNC-HCS" userId="487bc3e3-9ce7-4cdd-b7b4-8899ea88d289" providerId="ADAL" clId="{3663A84C-79C5-48AF-B3E1-03B433D898CA}" dt="2024-09-06T11:42:47.725" v="730" actId="14100"/>
          <ac:spMkLst>
            <pc:docMk/>
            <pc:sldMk cId="3326317404" sldId="2145706297"/>
            <ac:spMk id="5" creationId="{5C2956D9-21C7-308D-6DC1-343EDF11047B}"/>
          </ac:spMkLst>
        </pc:spChg>
        <pc:spChg chg="add del mod">
          <ac:chgData name="Graf Thomas, INI-NET-VNC-HCS" userId="487bc3e3-9ce7-4cdd-b7b4-8899ea88d289" providerId="ADAL" clId="{3663A84C-79C5-48AF-B3E1-03B433D898CA}" dt="2024-09-06T09:10:45.163" v="270" actId="478"/>
          <ac:spMkLst>
            <pc:docMk/>
            <pc:sldMk cId="3326317404" sldId="2145706297"/>
            <ac:spMk id="6" creationId="{839D9363-9EF0-6357-15B7-5FC028226319}"/>
          </ac:spMkLst>
        </pc:spChg>
        <pc:spChg chg="del mod">
          <ac:chgData name="Graf Thomas, INI-NET-VNC-HCS" userId="487bc3e3-9ce7-4cdd-b7b4-8899ea88d289" providerId="ADAL" clId="{3663A84C-79C5-48AF-B3E1-03B433D898CA}" dt="2024-09-06T09:10:41.990" v="269" actId="478"/>
          <ac:spMkLst>
            <pc:docMk/>
            <pc:sldMk cId="3326317404" sldId="2145706297"/>
            <ac:spMk id="8" creationId="{FBE5644D-AF4A-4732-B3D8-A1D12FF5A0D4}"/>
          </ac:spMkLst>
        </pc:spChg>
        <pc:picChg chg="add mod">
          <ac:chgData name="Graf Thomas, INI-NET-VNC-HCS" userId="487bc3e3-9ce7-4cdd-b7b4-8899ea88d289" providerId="ADAL" clId="{3663A84C-79C5-48AF-B3E1-03B433D898CA}" dt="2024-09-06T11:42:49.387" v="731" actId="1076"/>
          <ac:picMkLst>
            <pc:docMk/>
            <pc:sldMk cId="3326317404" sldId="2145706297"/>
            <ac:picMk id="4" creationId="{9957FF2A-1726-269B-FEF0-38B8C18BCCB9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6:25.013" v="624" actId="478"/>
        <pc:sldMkLst>
          <pc:docMk/>
          <pc:sldMk cId="4022267391" sldId="2145706304"/>
        </pc:sldMkLst>
        <pc:spChg chg="add mod">
          <ac:chgData name="Graf Thomas, INI-NET-VNC-HCS" userId="487bc3e3-9ce7-4cdd-b7b4-8899ea88d289" providerId="ADAL" clId="{3663A84C-79C5-48AF-B3E1-03B433D898CA}" dt="2024-09-06T09:26:14.152" v="364"/>
          <ac:spMkLst>
            <pc:docMk/>
            <pc:sldMk cId="4022267391" sldId="2145706304"/>
            <ac:spMk id="6" creationId="{8FE8C5C5-19EF-8598-4B74-F92E76C87A57}"/>
          </ac:spMkLst>
        </pc:spChg>
        <pc:spChg chg="del mod">
          <ac:chgData name="Graf Thomas, INI-NET-VNC-HCS" userId="487bc3e3-9ce7-4cdd-b7b4-8899ea88d289" providerId="ADAL" clId="{3663A84C-79C5-48AF-B3E1-03B433D898CA}" dt="2024-09-06T09:26:18.236" v="365" actId="478"/>
          <ac:spMkLst>
            <pc:docMk/>
            <pc:sldMk cId="4022267391" sldId="2145706304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26:20.669" v="366" actId="478"/>
          <ac:spMkLst>
            <pc:docMk/>
            <pc:sldMk cId="4022267391" sldId="2145706304"/>
            <ac:spMk id="9" creationId="{062A6B89-FBA3-5365-C00C-DF159658BA54}"/>
          </ac:spMkLst>
        </pc:spChg>
        <pc:spChg chg="mod">
          <ac:chgData name="Graf Thomas, INI-NET-VNC-HCS" userId="487bc3e3-9ce7-4cdd-b7b4-8899ea88d289" providerId="ADAL" clId="{3663A84C-79C5-48AF-B3E1-03B433D898CA}" dt="2024-09-06T09:26:25.409" v="380" actId="1036"/>
          <ac:spMkLst>
            <pc:docMk/>
            <pc:sldMk cId="4022267391" sldId="2145706304"/>
            <ac:spMk id="18" creationId="{3237B3B6-1C20-C70F-6AC8-021DC43F4482}"/>
          </ac:spMkLst>
        </pc:spChg>
        <pc:picChg chg="del mod">
          <ac:chgData name="Graf Thomas, INI-NET-VNC-HCS" userId="487bc3e3-9ce7-4cdd-b7b4-8899ea88d289" providerId="ADAL" clId="{3663A84C-79C5-48AF-B3E1-03B433D898CA}" dt="2024-09-06T09:22:21.031" v="339" actId="478"/>
          <ac:picMkLst>
            <pc:docMk/>
            <pc:sldMk cId="4022267391" sldId="2145706304"/>
            <ac:picMk id="4" creationId="{1D673E6D-97A0-B7EC-4703-0380FD2CCF01}"/>
          </ac:picMkLst>
        </pc:picChg>
        <pc:picChg chg="add del mod ord">
          <ac:chgData name="Graf Thomas, INI-NET-VNC-HCS" userId="487bc3e3-9ce7-4cdd-b7b4-8899ea88d289" providerId="ADAL" clId="{3663A84C-79C5-48AF-B3E1-03B433D898CA}" dt="2024-09-06T09:46:25.013" v="624" actId="478"/>
          <ac:picMkLst>
            <pc:docMk/>
            <pc:sldMk cId="4022267391" sldId="2145706304"/>
            <ac:picMk id="5" creationId="{42D56EAF-5048-FDB0-7267-D0622BB31505}"/>
          </ac:picMkLst>
        </pc:picChg>
        <pc:picChg chg="add mod ord">
          <ac:chgData name="Graf Thomas, INI-NET-VNC-HCS" userId="487bc3e3-9ce7-4cdd-b7b4-8899ea88d289" providerId="ADAL" clId="{3663A84C-79C5-48AF-B3E1-03B433D898CA}" dt="2024-09-06T09:46:22.769" v="623" actId="167"/>
          <ac:picMkLst>
            <pc:docMk/>
            <pc:sldMk cId="4022267391" sldId="2145706304"/>
            <ac:picMk id="11" creationId="{6B0C1672-A594-887B-6A21-7028993570E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5:30.307" v="658" actId="255"/>
        <pc:sldMkLst>
          <pc:docMk/>
          <pc:sldMk cId="2242071639" sldId="2145706305"/>
        </pc:sldMkLst>
        <pc:spChg chg="add mod">
          <ac:chgData name="Graf Thomas, INI-NET-VNC-HCS" userId="487bc3e3-9ce7-4cdd-b7b4-8899ea88d289" providerId="ADAL" clId="{3663A84C-79C5-48AF-B3E1-03B433D898CA}" dt="2024-09-06T09:24:35.890" v="361" actId="255"/>
          <ac:spMkLst>
            <pc:docMk/>
            <pc:sldMk cId="2242071639" sldId="2145706305"/>
            <ac:spMk id="2" creationId="{FF698D95-A9CB-05D6-9F28-4C0B83A1E7B3}"/>
          </ac:spMkLst>
        </pc:spChg>
        <pc:spChg chg="add del mod">
          <ac:chgData name="Graf Thomas, INI-NET-VNC-HCS" userId="487bc3e3-9ce7-4cdd-b7b4-8899ea88d289" providerId="ADAL" clId="{3663A84C-79C5-48AF-B3E1-03B433D898CA}" dt="2024-09-06T09:12:39.409" v="301" actId="478"/>
          <ac:spMkLst>
            <pc:docMk/>
            <pc:sldMk cId="2242071639" sldId="2145706305"/>
            <ac:spMk id="5" creationId="{660F0FEF-3121-9ED1-11DC-0A61DB3E35DB}"/>
          </ac:spMkLst>
        </pc:spChg>
        <pc:spChg chg="del">
          <ac:chgData name="Graf Thomas, INI-NET-VNC-HCS" userId="487bc3e3-9ce7-4cdd-b7b4-8899ea88d289" providerId="ADAL" clId="{3663A84C-79C5-48AF-B3E1-03B433D898CA}" dt="2024-09-06T09:12:37.051" v="300" actId="478"/>
          <ac:spMkLst>
            <pc:docMk/>
            <pc:sldMk cId="2242071639" sldId="214570630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13:05.689" v="322" actId="1036"/>
          <ac:spMkLst>
            <pc:docMk/>
            <pc:sldMk cId="2242071639" sldId="214570630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11:35:30.307" v="658" actId="255"/>
          <ac:spMkLst>
            <pc:docMk/>
            <pc:sldMk cId="2242071639" sldId="2145706305"/>
            <ac:spMk id="18" creationId="{3237B3B6-1C20-C70F-6AC8-021DC43F4482}"/>
          </ac:spMkLst>
        </pc:spChg>
        <pc:picChg chg="add mod ord">
          <ac:chgData name="Graf Thomas, INI-NET-VNC-HCS" userId="487bc3e3-9ce7-4cdd-b7b4-8899ea88d289" providerId="ADAL" clId="{3663A84C-79C5-48AF-B3E1-03B433D898CA}" dt="2024-09-06T09:17:52.442" v="326" actId="167"/>
          <ac:picMkLst>
            <pc:docMk/>
            <pc:sldMk cId="2242071639" sldId="2145706305"/>
            <ac:picMk id="7" creationId="{85C6F61C-511A-4B37-FAF5-AFE333889738}"/>
          </ac:picMkLst>
        </pc:picChg>
        <pc:picChg chg="del mod">
          <ac:chgData name="Graf Thomas, INI-NET-VNC-HCS" userId="487bc3e3-9ce7-4cdd-b7b4-8899ea88d289" providerId="ADAL" clId="{3663A84C-79C5-48AF-B3E1-03B433D898CA}" dt="2024-09-06T09:17:54.611" v="327" actId="478"/>
          <ac:picMkLst>
            <pc:docMk/>
            <pc:sldMk cId="2242071639" sldId="2145706305"/>
            <ac:picMk id="46" creationId="{CEB201B6-E447-49A6-DBBF-0602E1F83EC2}"/>
          </ac:picMkLst>
        </pc:picChg>
        <pc:cxnChg chg="mod">
          <ac:chgData name="Graf Thomas, INI-NET-VNC-HCS" userId="487bc3e3-9ce7-4cdd-b7b4-8899ea88d289" providerId="ADAL" clId="{3663A84C-79C5-48AF-B3E1-03B433D898CA}" dt="2024-09-06T09:13:05.689" v="322" actId="1036"/>
          <ac:cxnSpMkLst>
            <pc:docMk/>
            <pc:sldMk cId="2242071639" sldId="2145706305"/>
            <ac:cxnSpMk id="30" creationId="{4E3B13FB-8CA7-B3DE-FF7A-B5744D340B82}"/>
          </ac:cxnSpMkLst>
        </pc:cxnChg>
      </pc:sldChg>
      <pc:sldChg chg="addSp delSp modSp add mod">
        <pc:chgData name="Graf Thomas, INI-NET-VNC-HCS" userId="487bc3e3-9ce7-4cdd-b7b4-8899ea88d289" providerId="ADAL" clId="{3663A84C-79C5-48AF-B3E1-03B433D898CA}" dt="2024-09-06T11:34:44.082" v="653" actId="255"/>
        <pc:sldMkLst>
          <pc:docMk/>
          <pc:sldMk cId="3306219172" sldId="2145706306"/>
        </pc:sldMkLst>
        <pc:spChg chg="add mod">
          <ac:chgData name="Graf Thomas, INI-NET-VNC-HCS" userId="487bc3e3-9ce7-4cdd-b7b4-8899ea88d289" providerId="ADAL" clId="{3663A84C-79C5-48AF-B3E1-03B433D898CA}" dt="2024-09-06T09:24:07.075" v="357" actId="255"/>
          <ac:spMkLst>
            <pc:docMk/>
            <pc:sldMk cId="3306219172" sldId="2145706306"/>
            <ac:spMk id="2" creationId="{EA940073-BABF-D950-98D0-5E0D4F9449C1}"/>
          </ac:spMkLst>
        </pc:spChg>
        <pc:spChg chg="add del mod">
          <ac:chgData name="Graf Thomas, INI-NET-VNC-HCS" userId="487bc3e3-9ce7-4cdd-b7b4-8899ea88d289" providerId="ADAL" clId="{3663A84C-79C5-48AF-B3E1-03B433D898CA}" dt="2024-09-06T09:05:44.939" v="182" actId="478"/>
          <ac:spMkLst>
            <pc:docMk/>
            <pc:sldMk cId="3306219172" sldId="2145706306"/>
            <ac:spMk id="5" creationId="{EE9723A6-A878-02B2-3124-AA88C15963EE}"/>
          </ac:spMkLst>
        </pc:spChg>
        <pc:spChg chg="del mod">
          <ac:chgData name="Graf Thomas, INI-NET-VNC-HCS" userId="487bc3e3-9ce7-4cdd-b7b4-8899ea88d289" providerId="ADAL" clId="{3663A84C-79C5-48AF-B3E1-03B433D898CA}" dt="2024-09-06T09:05:42.769" v="181" actId="478"/>
          <ac:spMkLst>
            <pc:docMk/>
            <pc:sldMk cId="3306219172" sldId="214570630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4:44.082" v="653" actId="255"/>
          <ac:spMkLst>
            <pc:docMk/>
            <pc:sldMk cId="3306219172" sldId="2145706306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11:34:44.082" v="653" actId="255"/>
          <ac:spMkLst>
            <pc:docMk/>
            <pc:sldMk cId="3306219172" sldId="2145706306"/>
            <ac:spMk id="15" creationId="{B5CDDA56-B5D8-4C49-8CCA-DCA4A19F195F}"/>
          </ac:spMkLst>
        </pc:sp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6" creationId="{F3646253-B1D6-64B2-2FE8-2FF8BE633839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8" creationId="{8425D40A-A485-E0F3-DAFF-6A6B93C45C5D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21" creationId="{8C8A0974-3500-8B35-B52C-69FCA5111975}"/>
          </ac:picMkLst>
        </pc:picChg>
      </pc:sldChg>
      <pc:sldChg chg="add del">
        <pc:chgData name="Graf Thomas, INI-NET-VNC-HCS" userId="487bc3e3-9ce7-4cdd-b7b4-8899ea88d289" providerId="ADAL" clId="{3663A84C-79C5-48AF-B3E1-03B433D898CA}" dt="2024-09-06T09:08:14.389" v="235" actId="47"/>
        <pc:sldMkLst>
          <pc:docMk/>
          <pc:sldMk cId="2716379569" sldId="2145706307"/>
        </pc:sldMkLst>
      </pc:sldChg>
      <pc:sldChg chg="addSp delSp modSp add mod ord">
        <pc:chgData name="Graf Thomas, INI-NET-VNC-HCS" userId="487bc3e3-9ce7-4cdd-b7b4-8899ea88d289" providerId="ADAL" clId="{3663A84C-79C5-48AF-B3E1-03B433D898CA}" dt="2024-09-06T09:49:21.862" v="634" actId="478"/>
        <pc:sldMkLst>
          <pc:docMk/>
          <pc:sldMk cId="761850042" sldId="2145706308"/>
        </pc:sldMkLst>
        <pc:spChg chg="add del mod">
          <ac:chgData name="Graf Thomas, INI-NET-VNC-HCS" userId="487bc3e3-9ce7-4cdd-b7b4-8899ea88d289" providerId="ADAL" clId="{3663A84C-79C5-48AF-B3E1-03B433D898CA}" dt="2024-09-06T09:28:55.937" v="487" actId="478"/>
          <ac:spMkLst>
            <pc:docMk/>
            <pc:sldMk cId="761850042" sldId="2145706308"/>
            <ac:spMk id="4" creationId="{E7ED4C68-26EE-0AAE-EC5C-513DDB6FFD1F}"/>
          </ac:spMkLst>
        </pc:spChg>
        <pc:spChg chg="add mod">
          <ac:chgData name="Graf Thomas, INI-NET-VNC-HCS" userId="487bc3e3-9ce7-4cdd-b7b4-8899ea88d289" providerId="ADAL" clId="{3663A84C-79C5-48AF-B3E1-03B433D898CA}" dt="2024-09-06T09:29:03.027" v="492" actId="20577"/>
          <ac:spMkLst>
            <pc:docMk/>
            <pc:sldMk cId="761850042" sldId="2145706308"/>
            <ac:spMk id="6" creationId="{7AA953A5-9F19-5DB2-A481-3AE52A5FE9B9}"/>
          </ac:spMkLst>
        </pc:spChg>
        <pc:spChg chg="del">
          <ac:chgData name="Graf Thomas, INI-NET-VNC-HCS" userId="487bc3e3-9ce7-4cdd-b7b4-8899ea88d289" providerId="ADAL" clId="{3663A84C-79C5-48AF-B3E1-03B433D898CA}" dt="2024-09-06T09:28:53.687" v="486" actId="478"/>
          <ac:spMkLst>
            <pc:docMk/>
            <pc:sldMk cId="761850042" sldId="2145706308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59.827" v="352" actId="20577"/>
          <ac:spMkLst>
            <pc:docMk/>
            <pc:sldMk cId="761850042" sldId="2145706308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57.428" v="350" actId="20577"/>
          <ac:spMkLst>
            <pc:docMk/>
            <pc:sldMk cId="761850042" sldId="2145706308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9:10.353" v="508" actId="1036"/>
          <ac:picMkLst>
            <pc:docMk/>
            <pc:sldMk cId="761850042" sldId="2145706308"/>
            <ac:picMk id="5" creationId="{9393152E-0157-7964-B42D-D4B510D33ADC}"/>
          </ac:picMkLst>
        </pc:picChg>
        <pc:picChg chg="del mod">
          <ac:chgData name="Graf Thomas, INI-NET-VNC-HCS" userId="487bc3e3-9ce7-4cdd-b7b4-8899ea88d289" providerId="ADAL" clId="{3663A84C-79C5-48AF-B3E1-03B433D898CA}" dt="2024-09-06T09:49:21.862" v="634" actId="478"/>
          <ac:picMkLst>
            <pc:docMk/>
            <pc:sldMk cId="761850042" sldId="2145706308"/>
            <ac:picMk id="7" creationId="{6A215AF2-42A6-BA50-3B19-DFA527BA3BE2}"/>
          </ac:picMkLst>
        </pc:picChg>
        <pc:picChg chg="add mod ord">
          <ac:chgData name="Graf Thomas, INI-NET-VNC-HCS" userId="487bc3e3-9ce7-4cdd-b7b4-8899ea88d289" providerId="ADAL" clId="{3663A84C-79C5-48AF-B3E1-03B433D898CA}" dt="2024-09-06T09:49:19.684" v="633" actId="167"/>
          <ac:picMkLst>
            <pc:docMk/>
            <pc:sldMk cId="761850042" sldId="2145706308"/>
            <ac:picMk id="10" creationId="{96895521-5CD0-D76C-CDE6-2F48DF438337}"/>
          </ac:picMkLst>
        </pc:picChg>
      </pc:sldChg>
      <pc:sldChg chg="addSp delSp modSp add mod ord">
        <pc:chgData name="Graf Thomas, INI-NET-VNC-HCS" userId="487bc3e3-9ce7-4cdd-b7b4-8899ea88d289" providerId="ADAL" clId="{3663A84C-79C5-48AF-B3E1-03B433D898CA}" dt="2024-09-06T09:41:50.337" v="619" actId="1036"/>
        <pc:sldMkLst>
          <pc:docMk/>
          <pc:sldMk cId="4182975672" sldId="2145706309"/>
        </pc:sldMkLst>
        <pc:spChg chg="add del mod">
          <ac:chgData name="Graf Thomas, INI-NET-VNC-HCS" userId="487bc3e3-9ce7-4cdd-b7b4-8899ea88d289" providerId="ADAL" clId="{3663A84C-79C5-48AF-B3E1-03B433D898CA}" dt="2024-09-06T09:29:30.457" v="511" actId="478"/>
          <ac:spMkLst>
            <pc:docMk/>
            <pc:sldMk cId="4182975672" sldId="2145706309"/>
            <ac:spMk id="6" creationId="{5FCDF15E-00B2-7DCE-CC18-7733D12BA44A}"/>
          </ac:spMkLst>
        </pc:spChg>
        <pc:spChg chg="add mod">
          <ac:chgData name="Graf Thomas, INI-NET-VNC-HCS" userId="487bc3e3-9ce7-4cdd-b7b4-8899ea88d289" providerId="ADAL" clId="{3663A84C-79C5-48AF-B3E1-03B433D898CA}" dt="2024-09-06T09:29:34.874" v="516" actId="20577"/>
          <ac:spMkLst>
            <pc:docMk/>
            <pc:sldMk cId="4182975672" sldId="2145706309"/>
            <ac:spMk id="7" creationId="{6AFA44BB-0B8E-A014-8B61-F95C7B4CCE5C}"/>
          </ac:spMkLst>
        </pc:spChg>
        <pc:spChg chg="mod">
          <ac:chgData name="Graf Thomas, INI-NET-VNC-HCS" userId="487bc3e3-9ce7-4cdd-b7b4-8899ea88d289" providerId="ADAL" clId="{3663A84C-79C5-48AF-B3E1-03B433D898CA}" dt="2024-09-06T09:23:15.946" v="354" actId="20577"/>
          <ac:spMkLst>
            <pc:docMk/>
            <pc:sldMk cId="4182975672" sldId="2145706309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6.863" v="87" actId="478"/>
          <ac:spMkLst>
            <pc:docMk/>
            <pc:sldMk cId="4182975672" sldId="2145706309"/>
            <ac:spMk id="24" creationId="{7F0854E4-A574-BB47-B958-0EBEDADE71C3}"/>
          </ac:spMkLst>
        </pc:spChg>
        <pc:spChg chg="del">
          <ac:chgData name="Graf Thomas, INI-NET-VNC-HCS" userId="487bc3e3-9ce7-4cdd-b7b4-8899ea88d289" providerId="ADAL" clId="{3663A84C-79C5-48AF-B3E1-03B433D898CA}" dt="2024-09-06T09:29:28.118" v="510" actId="478"/>
          <ac:spMkLst>
            <pc:docMk/>
            <pc:sldMk cId="4182975672" sldId="2145706309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38.290" v="517" actId="478"/>
          <ac:spMkLst>
            <pc:docMk/>
            <pc:sldMk cId="4182975672" sldId="2145706309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30:00.158" v="545" actId="1035"/>
          <ac:picMkLst>
            <pc:docMk/>
            <pc:sldMk cId="4182975672" sldId="2145706309"/>
            <ac:picMk id="9" creationId="{D0E3D6DA-F05A-A042-9BB1-43DA4A080FBB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5" creationId="{09EEB8C2-3C26-AE84-7583-9F97772A05B7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9" creationId="{4D4B509E-06C9-6731-8CB3-FBF8C59AFA2F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21" creationId="{6AF0FEA3-FE3E-FF99-A67A-1B15F237A58A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11:43:39.886" v="734" actId="255"/>
        <pc:sldMkLst>
          <pc:docMk/>
          <pc:sldMk cId="1513516827" sldId="2145706311"/>
        </pc:sldMkLst>
        <pc:spChg chg="mod">
          <ac:chgData name="Graf Thomas, INI-NET-VNC-HCS" userId="487bc3e3-9ce7-4cdd-b7b4-8899ea88d289" providerId="ADAL" clId="{3663A84C-79C5-48AF-B3E1-03B433D898CA}" dt="2024-09-06T11:43:39.886" v="734" actId="255"/>
          <ac:spMkLst>
            <pc:docMk/>
            <pc:sldMk cId="1513516827" sldId="2145706311"/>
            <ac:spMk id="2" creationId="{9F035C53-0622-4E84-36C1-A162A2A1A2E8}"/>
          </ac:spMkLst>
        </pc:spChg>
        <pc:spChg chg="add mod">
          <ac:chgData name="Graf Thomas, INI-NET-VNC-HCS" userId="487bc3e3-9ce7-4cdd-b7b4-8899ea88d289" providerId="ADAL" clId="{3663A84C-79C5-48AF-B3E1-03B433D898CA}" dt="2024-09-06T11:43:34.899" v="733" actId="1076"/>
          <ac:spMkLst>
            <pc:docMk/>
            <pc:sldMk cId="1513516827" sldId="2145706311"/>
            <ac:spMk id="4" creationId="{D105B84F-E2E8-C7FC-70E4-98C0BD4BB518}"/>
          </ac:spMkLst>
        </pc:spChg>
        <pc:spChg chg="del mod">
          <ac:chgData name="Graf Thomas, INI-NET-VNC-HCS" userId="487bc3e3-9ce7-4cdd-b7b4-8899ea88d289" providerId="ADAL" clId="{3663A84C-79C5-48AF-B3E1-03B433D898CA}" dt="2024-09-06T09:09:06.386" v="246" actId="478"/>
          <ac:spMkLst>
            <pc:docMk/>
            <pc:sldMk cId="1513516827" sldId="2145706311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09:09.955" v="247" actId="478"/>
          <ac:spMkLst>
            <pc:docMk/>
            <pc:sldMk cId="1513516827" sldId="2145706311"/>
            <ac:spMk id="9" creationId="{6D9AB3CF-7A58-2E4A-0720-C9C2055990E6}"/>
          </ac:spMkLst>
        </pc:spChg>
        <pc:spChg chg="mod">
          <ac:chgData name="Graf Thomas, INI-NET-VNC-HCS" userId="487bc3e3-9ce7-4cdd-b7b4-8899ea88d289" providerId="ADAL" clId="{3663A84C-79C5-48AF-B3E1-03B433D898CA}" dt="2024-09-06T11:43:39.886" v="734" actId="255"/>
          <ac:spMkLst>
            <pc:docMk/>
            <pc:sldMk cId="1513516827" sldId="2145706311"/>
            <ac:spMk id="16" creationId="{E014DA17-F44A-D10B-19AB-E751DE2ED48E}"/>
          </ac:spMkLst>
        </pc:sp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5" creationId="{8BF5D646-7A91-F311-56BC-C755F8A8E45F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7" creationId="{E05D19DE-54D2-07EE-C061-194B9D2B48A9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11" creationId="{6BE03110-5B38-7B2E-DDF4-4FDF0248A04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4:55.247" v="654" actId="255"/>
        <pc:sldMkLst>
          <pc:docMk/>
          <pc:sldMk cId="2039079038" sldId="2145706312"/>
        </pc:sldMkLst>
        <pc:spChg chg="mod">
          <ac:chgData name="Graf Thomas, INI-NET-VNC-HCS" userId="487bc3e3-9ce7-4cdd-b7b4-8899ea88d289" providerId="ADAL" clId="{3663A84C-79C5-48AF-B3E1-03B433D898CA}" dt="2024-09-06T09:24:11.671" v="358" actId="255"/>
          <ac:spMkLst>
            <pc:docMk/>
            <pc:sldMk cId="2039079038" sldId="2145706312"/>
            <ac:spMk id="2" creationId="{EA940073-BABF-D950-98D0-5E0D4F9449C1}"/>
          </ac:spMkLst>
        </pc:spChg>
        <pc:spChg chg="mod">
          <ac:chgData name="Graf Thomas, INI-NET-VNC-HCS" userId="487bc3e3-9ce7-4cdd-b7b4-8899ea88d289" providerId="ADAL" clId="{3663A84C-79C5-48AF-B3E1-03B433D898CA}" dt="2024-09-06T11:34:55.247" v="654" actId="255"/>
          <ac:spMkLst>
            <pc:docMk/>
            <pc:sldMk cId="2039079038" sldId="2145706312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11:34:55.247" v="654" actId="255"/>
          <ac:spMkLst>
            <pc:docMk/>
            <pc:sldMk cId="2039079038" sldId="2145706312"/>
            <ac:spMk id="15" creationId="{B5CDDA56-B5D8-4C49-8CCA-DCA4A19F195F}"/>
          </ac:spMkLst>
        </pc:sp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4" creationId="{A78568E5-4ACE-41BC-71F5-8048916B07C2}"/>
          </ac:picMkLst>
        </pc:pic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5" creationId="{EDB634CA-C4B2-5D9E-CB74-28E14E0319FA}"/>
          </ac:picMkLst>
        </pc:picChg>
        <pc:picChg chg="add del">
          <ac:chgData name="Graf Thomas, INI-NET-VNC-HCS" userId="487bc3e3-9ce7-4cdd-b7b4-8899ea88d289" providerId="ADAL" clId="{3663A84C-79C5-48AF-B3E1-03B433D898CA}" dt="2024-09-06T09:07:57.618" v="225" actId="478"/>
          <ac:picMkLst>
            <pc:docMk/>
            <pc:sldMk cId="2039079038" sldId="2145706312"/>
            <ac:picMk id="16" creationId="{F3646253-B1D6-64B2-2FE8-2FF8BE633839}"/>
          </ac:picMkLst>
        </pc:picChg>
        <pc:picChg chg="add del">
          <ac:chgData name="Graf Thomas, INI-NET-VNC-HCS" userId="487bc3e3-9ce7-4cdd-b7b4-8899ea88d289" providerId="ADAL" clId="{3663A84C-79C5-48AF-B3E1-03B433D898CA}" dt="2024-09-06T09:07:56.670" v="224" actId="478"/>
          <ac:picMkLst>
            <pc:docMk/>
            <pc:sldMk cId="2039079038" sldId="2145706312"/>
            <ac:picMk id="18" creationId="{8425D40A-A485-E0F3-DAFF-6A6B93C45C5D}"/>
          </ac:picMkLst>
        </pc:picChg>
        <pc:picChg chg="add del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21" creationId="{8C8A0974-3500-8B35-B52C-69FCA5111975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53:39.677" v="1053" actId="20577"/>
        <pc:sldMkLst>
          <pc:docMk/>
          <pc:sldMk cId="1612286370" sldId="2145706313"/>
        </pc:sldMkLst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2" creationId="{9F035C53-0622-4E84-36C1-A162A2A1A2E8}"/>
          </ac:spMkLst>
        </pc:spChg>
        <pc:spChg chg="mod">
          <ac:chgData name="Graf Thomas, INI-NET-VNC-HCS" userId="487bc3e3-9ce7-4cdd-b7b4-8899ea88d289" providerId="ADAL" clId="{3663A84C-79C5-48AF-B3E1-03B433D898CA}" dt="2024-09-06T11:44:00.461" v="737" actId="2711"/>
          <ac:spMkLst>
            <pc:docMk/>
            <pc:sldMk cId="1612286370" sldId="2145706313"/>
            <ac:spMk id="3" creationId="{9690665C-8566-4537-9D7A-7F19909CBCF1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4" creationId="{D105B84F-E2E8-C7FC-70E4-98C0BD4BB518}"/>
          </ac:spMkLst>
        </pc:spChg>
        <pc:spChg chg="add mod">
          <ac:chgData name="Graf Thomas, INI-NET-VNC-HCS" userId="487bc3e3-9ce7-4cdd-b7b4-8899ea88d289" providerId="ADAL" clId="{3663A84C-79C5-48AF-B3E1-03B433D898CA}" dt="2024-09-06T11:49:01.169" v="872" actId="12"/>
          <ac:spMkLst>
            <pc:docMk/>
            <pc:sldMk cId="1612286370" sldId="2145706313"/>
            <ac:spMk id="6" creationId="{E85B45BD-E09D-E836-3E9D-2373182A6553}"/>
          </ac:spMkLst>
        </pc:spChg>
        <pc:spChg chg="add mod">
          <ac:chgData name="Graf Thomas, INI-NET-VNC-HCS" userId="487bc3e3-9ce7-4cdd-b7b4-8899ea88d289" providerId="ADAL" clId="{3663A84C-79C5-48AF-B3E1-03B433D898CA}" dt="2024-09-06T11:53:39.677" v="1053" actId="20577"/>
          <ac:spMkLst>
            <pc:docMk/>
            <pc:sldMk cId="1612286370" sldId="2145706313"/>
            <ac:spMk id="8" creationId="{295D4D70-D5AA-3C64-DE30-E3CD42B4CF62}"/>
          </ac:spMkLst>
        </pc:spChg>
        <pc:spChg chg="add del mod">
          <ac:chgData name="Graf Thomas, INI-NET-VNC-HCS" userId="487bc3e3-9ce7-4cdd-b7b4-8899ea88d289" providerId="ADAL" clId="{3663A84C-79C5-48AF-B3E1-03B433D898CA}" dt="2024-09-06T11:47:14.037" v="860" actId="478"/>
          <ac:spMkLst>
            <pc:docMk/>
            <pc:sldMk cId="1612286370" sldId="2145706313"/>
            <ac:spMk id="9" creationId="{B046A222-B260-412D-E33D-3DB670CCDC19}"/>
          </ac:spMkLst>
        </pc:spChg>
        <pc:spChg chg="add del mod">
          <ac:chgData name="Graf Thomas, INI-NET-VNC-HCS" userId="487bc3e3-9ce7-4cdd-b7b4-8899ea88d289" providerId="ADAL" clId="{3663A84C-79C5-48AF-B3E1-03B433D898CA}" dt="2024-09-06T11:47:14.037" v="860" actId="478"/>
          <ac:spMkLst>
            <pc:docMk/>
            <pc:sldMk cId="1612286370" sldId="2145706313"/>
            <ac:spMk id="10" creationId="{75035976-D8AE-FB19-678B-F02F92D1EC4D}"/>
          </ac:spMkLst>
        </pc:spChg>
        <pc:spChg chg="add mod">
          <ac:chgData name="Graf Thomas, INI-NET-VNC-HCS" userId="487bc3e3-9ce7-4cdd-b7b4-8899ea88d289" providerId="ADAL" clId="{3663A84C-79C5-48AF-B3E1-03B433D898CA}" dt="2024-09-06T11:47:06.587" v="849" actId="14100"/>
          <ac:spMkLst>
            <pc:docMk/>
            <pc:sldMk cId="1612286370" sldId="2145706313"/>
            <ac:spMk id="12" creationId="{45D6B333-F8C7-5EB8-7419-1104B0FD9B73}"/>
          </ac:spMkLst>
        </pc:spChg>
        <pc:spChg chg="add mod">
          <ac:chgData name="Graf Thomas, INI-NET-VNC-HCS" userId="487bc3e3-9ce7-4cdd-b7b4-8899ea88d289" providerId="ADAL" clId="{3663A84C-79C5-48AF-B3E1-03B433D898CA}" dt="2024-09-06T11:49:36.751" v="875" actId="12"/>
          <ac:spMkLst>
            <pc:docMk/>
            <pc:sldMk cId="1612286370" sldId="2145706313"/>
            <ac:spMk id="13" creationId="{BCE510F7-3516-7C5A-5D34-D703B62658D7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16" creationId="{E014DA17-F44A-D10B-19AB-E751DE2ED48E}"/>
          </ac:spMkLst>
        </pc:sp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5" creationId="{8BF5D646-7A91-F311-56BC-C755F8A8E45F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7" creationId="{E05D19DE-54D2-07EE-C061-194B9D2B48A9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11" creationId="{6BE03110-5B38-7B2E-DDF4-4FDF0248A040}"/>
          </ac:picMkLst>
        </pc:picChg>
      </pc:sldChg>
      <pc:sldChg chg="new del">
        <pc:chgData name="Graf Thomas, INI-NET-VNC-HCS" userId="487bc3e3-9ce7-4cdd-b7b4-8899ea88d289" providerId="ADAL" clId="{3663A84C-79C5-48AF-B3E1-03B433D898CA}" dt="2024-09-06T09:34:48.354" v="568" actId="47"/>
        <pc:sldMkLst>
          <pc:docMk/>
          <pc:sldMk cId="2890628316" sldId="2145706313"/>
        </pc:sldMkLst>
      </pc:sldChg>
      <pc:sldMasterChg chg="del delSldLayout">
        <pc:chgData name="Graf Thomas, INI-NET-VNC-HCS" userId="487bc3e3-9ce7-4cdd-b7b4-8899ea88d289" providerId="ADAL" clId="{3663A84C-79C5-48AF-B3E1-03B433D898CA}" dt="2024-09-06T09:35:09.675" v="572" actId="47"/>
        <pc:sldMasterMkLst>
          <pc:docMk/>
          <pc:sldMasterMk cId="3268636199" sldId="2147483662"/>
        </pc:sldMasterMkLst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254591028" sldId="214748366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36434412" sldId="214748366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505846313" sldId="214748366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83358155" sldId="214748366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120197054" sldId="214748366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661939946" sldId="214748366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32387513" sldId="214748366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320376102" sldId="2147483670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753575703" sldId="2147483671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73809381" sldId="2147483672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568194469" sldId="214748367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979364937" sldId="214748367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65497551" sldId="214748367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329757606" sldId="214748367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281411031" sldId="214748367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287458380" sldId="214748367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24189724" sldId="214748367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180311067" sldId="214748368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73F-42EE-BD33-5E7E33FA97EB}"/>
              </c:ext>
            </c:extLst>
          </c:dPt>
          <c:cat>
            <c:strRef>
              <c:f>Tabelle1!$A$2:$A$5</c:f>
              <c:strCache>
                <c:ptCount val="4"/>
                <c:pt idx="0">
                  <c:v>Correct</c:v>
                </c:pt>
                <c:pt idx="1">
                  <c:v>Improve</c:v>
                </c:pt>
                <c:pt idx="2">
                  <c:v>False</c:v>
                </c:pt>
                <c:pt idx="3">
                  <c:v>Inventory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9</c:v>
                </c:pt>
                <c:pt idx="1">
                  <c:v>15</c:v>
                </c:pt>
                <c:pt idx="2">
                  <c:v>14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cat>
            <c:strRef>
              <c:f>Tabelle1!$A$2:$A$4</c:f>
              <c:strCache>
                <c:ptCount val="3"/>
                <c:pt idx="0">
                  <c:v>default strategy</c:v>
                </c:pt>
                <c:pt idx="1">
                  <c:v>topology change</c:v>
                </c:pt>
                <c:pt idx="2">
                  <c:v>other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8</c:v>
                </c:pt>
                <c:pt idx="1">
                  <c:v>6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73F-42EE-BD33-5E7E33FA97E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73F-42EE-BD33-5E7E33FA97EB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73F-42EE-BD33-5E7E33FA97EB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73F-42EE-BD33-5E7E33FA97EB}"/>
              </c:ext>
            </c:extLst>
          </c:dPt>
          <c:dPt>
            <c:idx val="4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8-1C26-4FE9-A8E4-C72A73310D41}"/>
              </c:ext>
            </c:extLst>
          </c:dPt>
          <c:dPt>
            <c:idx val="5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1C26-4FE9-A8E4-C72A73310D41}"/>
              </c:ext>
            </c:extLst>
          </c:dPt>
          <c:cat>
            <c:strRef>
              <c:f>Tabelle1!$A$2:$A$7</c:f>
              <c:strCache>
                <c:ptCount val="6"/>
                <c:pt idx="0">
                  <c:v>Network Telemetry Enhancements at Vendor</c:v>
                </c:pt>
                <c:pt idx="1">
                  <c:v>Anomaly Detection Enhancements </c:v>
                </c:pt>
                <c:pt idx="2">
                  <c:v>Swisscom Transformation</c:v>
                </c:pt>
                <c:pt idx="3">
                  <c:v>Network Telemetry Enhancements at IETF</c:v>
                </c:pt>
                <c:pt idx="4">
                  <c:v>Daisy Team Backlog</c:v>
                </c:pt>
                <c:pt idx="5">
                  <c:v>Network Team backlog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6</c:v>
                </c:pt>
                <c:pt idx="1">
                  <c:v>11</c:v>
                </c:pt>
                <c:pt idx="2">
                  <c:v>10</c:v>
                </c:pt>
                <c:pt idx="3">
                  <c:v>9</c:v>
                </c:pt>
                <c:pt idx="4">
                  <c:v>3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3F-42EE-BD33-5E7E33FA97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705E9-673F-4AC4-B29E-A7B26F3B8523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C52A0-2F3F-497F-8536-39D60282E9C2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67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25536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5985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1293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008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7403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78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7503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5387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2000092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9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7909185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531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8048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1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4384730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2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0048000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3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0385460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1363261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5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357742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6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6072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07786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2239067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578410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68659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20196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2349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BBCCF6-F8A8-4C49-BF3D-CA1AA74CA97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543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E4512-1D3B-4B73-B042-476E6184E8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168D7F-8149-41A1-BACA-3AE93B5EBA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1F274-2081-4043-A760-EBE78731B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A492-DE76-49D9-B2D6-119D939A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59CCC-4F98-451F-BD3B-E72AFDCA6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5822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7D866-2D41-48BC-9DC3-7FEE77BA7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477519-4E02-40D8-8B6A-3A512977D4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31AF6-5DD6-4C3B-B500-F46F75D54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992F3-29F5-4955-B2D5-391EC52DB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B107A-54F3-441F-911A-3CD57FDE6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349AB2-2AB2-43A7-8656-1622691F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3361E9-F971-441C-8CE6-36B5044224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F5765-AAA1-4EBA-9889-B58751F15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360DF-246C-4E18-B36B-092273368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95E4A-A865-4DAD-8AEC-EE7D584D6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591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05672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01450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507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BDF6-FBD2-40AF-9486-BB4A908B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C614F-9AF2-40AF-A811-367A6AFA5E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87B81-7873-4625-90C6-65B7D39F6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062558-7E3E-4F68-94CA-8F448DCC8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E61FB-1357-46F5-903C-1994E98B2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938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FD0C7-725B-4BFF-9522-83239C8F8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E1048-3DC5-4B9C-899F-DED6314AE2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5DBFD-FBBF-4914-87A2-F3A61F56D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571A4-73D2-444B-9013-7EFE083B1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CFB92-7142-4854-ACC6-4129F01E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0372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36279-2318-4AD6-A5F8-75FAC2F4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0583D-F808-46BC-A112-FEA6430F4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E9A202-30E0-43D7-8764-65A6F84FD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791E6B-307F-487A-ACE7-95C6B653CB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1F60B-CB79-4100-B5DF-1E9EA55C1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3C06A-1F3A-41DA-8ED0-F1B053432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735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837BF-12E0-4609-8885-BA3B61207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6F202-5F12-4652-B24C-DE18E1A33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BF7499-BB9D-474C-80E4-FBDD9AF94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E8ABCD-03D9-487D-A401-5C46542B96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0E7B8-775C-4651-8505-06EEF69C7C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E55546-7C7E-4AE1-B224-70E058A0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87DA8F-0A89-45FF-A3CC-8973287CF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2A632D-9625-4B76-A006-24C009E13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0053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2A4D9-592C-47DB-A38B-6773D38A3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F8F040-BDDF-4877-8526-169F2DA1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0B3BB-C496-4AF5-8EB6-7559F47A6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FE77DB-3A65-40BB-95CE-131D701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43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86202C-9526-41D5-A80B-2DF28967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DB588-08C7-4A6C-AB92-AA66E93DA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035E7-88C8-4D96-B785-776340A7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8112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C2E0B-BAAE-488E-8A9B-5E2F97281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C22BD-ADB1-4F08-B9D6-E993F811FC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329BCF-9547-4664-BC89-023CF460C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B46FE1-476B-4893-8CD9-264AC97F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35B88A-2D78-46C2-BBA5-A7E4B6C77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BCD13-0D0A-4531-9C78-280B19232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8955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82F91-0DE7-463A-B320-CFD88985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AE06-08B0-40A8-8F3E-C20E2667A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2DC7CF-A958-437D-97CD-D3E81DB923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C2DCF7-E5CF-40ED-9C23-5F54FB7C5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598A1-F516-4BF3-A1DB-EFB3FD805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DCE8FE-0171-448F-8772-43B1E412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0261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DFDE9-18F4-48C4-A401-3E984B392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17C9F2-47EC-46EF-9DAA-721B9E5E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2DCEB-FFB0-4E16-B62A-C5FBA3476A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B238C-2335-4007-98C9-471C02CC43B6}" type="datetimeFigureOut">
              <a:rPr lang="de-CH" smtClean="0"/>
              <a:t>01.03.2025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C72CA-B967-43BF-81A8-8AE258386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67793-ADCE-4178-B0C6-9992EC74B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5956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31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4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7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26" Type="http://schemas.openxmlformats.org/officeDocument/2006/relationships/hyperlink" Target="https://datatracker.ietf.org/doc/html/rfc9160" TargetMode="External"/><Relationship Id="rId39" Type="http://schemas.openxmlformats.org/officeDocument/2006/relationships/hyperlink" Target="https://datatracker.ietf.org/doc/html/draft-ietf-netconf-yang-notifications-versioning" TargetMode="External"/><Relationship Id="rId3" Type="http://schemas.openxmlformats.org/officeDocument/2006/relationships/tags" Target="../tags/tag3.xml"/><Relationship Id="rId21" Type="http://schemas.openxmlformats.org/officeDocument/2006/relationships/hyperlink" Target="https://datatracker.ietf.org/doc/html/draft-netana-nmop-network-anomaly-lifecycle" TargetMode="External"/><Relationship Id="rId34" Type="http://schemas.openxmlformats.org/officeDocument/2006/relationships/hyperlink" Target="https://datatracker.ietf.org/doc/html/rfc8639" TargetMode="External"/><Relationship Id="rId42" Type="http://schemas.openxmlformats.org/officeDocument/2006/relationships/hyperlink" Target="https://datatracker.ietf.org/doc/html/draft-netana-nmop-yang-message-broker-integration" TargetMode="External"/><Relationship Id="rId7" Type="http://schemas.openxmlformats.org/officeDocument/2006/relationships/tags" Target="../tags/tag7.xml"/><Relationship Id="rId12" Type="http://schemas.openxmlformats.org/officeDocument/2006/relationships/image" Target="../media/image2.svg"/><Relationship Id="rId17" Type="http://schemas.openxmlformats.org/officeDocument/2006/relationships/image" Target="../media/image7.png"/><Relationship Id="rId25" Type="http://schemas.openxmlformats.org/officeDocument/2006/relationships/hyperlink" Target="https://datatracker.ietf.org/doc/html/rfc9487" TargetMode="External"/><Relationship Id="rId33" Type="http://schemas.openxmlformats.org/officeDocument/2006/relationships/hyperlink" Target="https://datatracker.ietf.org/doc/html/draft-lucente-grow-bmp-rel" TargetMode="External"/><Relationship Id="rId38" Type="http://schemas.openxmlformats.org/officeDocument/2006/relationships/hyperlink" Target="https://datatracker.ietf.org/doc/html/draft-ahuang-netconf-notif-yang" TargetMode="External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20" Type="http://schemas.openxmlformats.org/officeDocument/2006/relationships/hyperlink" Target="https://datatracker.ietf.org/doc/html/draft-netana-nmop-network-anomaly-semantics" TargetMode="External"/><Relationship Id="rId29" Type="http://schemas.openxmlformats.org/officeDocument/2006/relationships/hyperlink" Target="https://datatracker.ietf.org/doc/html/rfc8671" TargetMode="External"/><Relationship Id="rId41" Type="http://schemas.openxmlformats.org/officeDocument/2006/relationships/hyperlink" Target="https://datatracker.ietf.org/doc/html/draft-tgraf-netconf-yang-push-observation-time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png"/><Relationship Id="rId24" Type="http://schemas.openxmlformats.org/officeDocument/2006/relationships/hyperlink" Target="https://datatracker.ietf.org/doc/html/rfc7011" TargetMode="External"/><Relationship Id="rId32" Type="http://schemas.openxmlformats.org/officeDocument/2006/relationships/hyperlink" Target="https://datatracker.ietf.org/doc/html/draft-ietf-grow-bmp-path-marking-tlv" TargetMode="External"/><Relationship Id="rId37" Type="http://schemas.openxmlformats.org/officeDocument/2006/relationships/hyperlink" Target="https://datatracker.ietf.org/doc/html/draft-ietf-netconf-distributed-notif" TargetMode="External"/><Relationship Id="rId40" Type="http://schemas.openxmlformats.org/officeDocument/2006/relationships/hyperlink" Target="https://datatracker.ietf.org/doc/html/draft-tgraf-netconf-notif-sequencing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23" Type="http://schemas.openxmlformats.org/officeDocument/2006/relationships/hyperlink" Target="https://datatracker.ietf.org/doc/html/draft-netana-nmop-network-anomaly-architecture" TargetMode="External"/><Relationship Id="rId28" Type="http://schemas.openxmlformats.org/officeDocument/2006/relationships/hyperlink" Target="https://datatracker.ietf.org/doc/html/rfc7854" TargetMode="External"/><Relationship Id="rId36" Type="http://schemas.openxmlformats.org/officeDocument/2006/relationships/hyperlink" Target="https://datatracker.ietf.org/doc/html/draft-ietf-netconf-udp-notif" TargetMode="External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9.png"/><Relationship Id="rId31" Type="http://schemas.openxmlformats.org/officeDocument/2006/relationships/hyperlink" Target="https://datatracker.ietf.org/doc/html/draft-ietf-grow-bmp-tlv" TargetMode="Externa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4.png"/><Relationship Id="rId22" Type="http://schemas.openxmlformats.org/officeDocument/2006/relationships/hyperlink" Target="https://datatracker.ietf.org/doc/html/rfc8632" TargetMode="External"/><Relationship Id="rId27" Type="http://schemas.openxmlformats.org/officeDocument/2006/relationships/hyperlink" Target="https://datatracker.ietf.org/doc/html/draft-ietf-opsawg-ipfix-on-path-telemetry" TargetMode="External"/><Relationship Id="rId30" Type="http://schemas.openxmlformats.org/officeDocument/2006/relationships/hyperlink" Target="https://datatracker.ietf.org/doc/html/rfc9069" TargetMode="External"/><Relationship Id="rId35" Type="http://schemas.openxmlformats.org/officeDocument/2006/relationships/hyperlink" Target="https://datatracker.ietf.org/doc/html/rfc8641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3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3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4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4" Type="http://schemas.openxmlformats.org/officeDocument/2006/relationships/chart" Target="../charts/char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hyperlink" Target="https://pivot.app.zhh.sbd.corproot.net/pivot/d/781f97b517809ebd1e/Daisy_Dev_Bl_Stream_Alert_Flatten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10" Type="http://schemas.openxmlformats.org/officeDocument/2006/relationships/image" Target="../media/image13.svg"/><Relationship Id="rId4" Type="http://schemas.openxmlformats.org/officeDocument/2006/relationships/hyperlink" Target="https://pivot.app.zhh.sbd.corproot.net/pivot/d/781f97b517809ebd1e/Daisy_Dev_Bl_Stream_Alert_Flatten" TargetMode="Externa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3.png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11" Type="http://schemas.openxmlformats.org/officeDocument/2006/relationships/image" Target="../media/image13.svg"/><Relationship Id="rId5" Type="http://schemas.openxmlformats.org/officeDocument/2006/relationships/image" Target="../media/image15.svg"/><Relationship Id="rId10" Type="http://schemas.openxmlformats.org/officeDocument/2006/relationships/image" Target="../media/image12.png"/><Relationship Id="rId4" Type="http://schemas.openxmlformats.org/officeDocument/2006/relationships/image" Target="../media/image14.png"/><Relationship Id="rId9" Type="http://schemas.openxmlformats.org/officeDocument/2006/relationships/image" Target="../media/image17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26208B2-0D10-4C23-B2DE-372A62E98644}"/>
              </a:ext>
            </a:extLst>
          </p:cNvPr>
          <p:cNvSpPr txBox="1">
            <a:spLocks/>
          </p:cNvSpPr>
          <p:nvPr/>
        </p:nvSpPr>
        <p:spPr>
          <a:xfrm>
            <a:off x="606830" y="1365772"/>
            <a:ext cx="11395314" cy="32390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 dirty="0"/>
              <a:t>Swisscom: Network Incident Network Analytics </a:t>
            </a:r>
            <a:r>
              <a:rPr lang="en-US" sz="3400" b="1" dirty="0">
                <a:solidFill>
                  <a:srgbClr val="FF0000"/>
                </a:solidFill>
              </a:rPr>
              <a:t>Postmortem</a:t>
            </a:r>
            <a:br>
              <a:rPr lang="en-US" sz="3600" b="1" dirty="0"/>
            </a:br>
            <a:endParaRPr lang="en-US" sz="2800" dirty="0"/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s an incident in terms of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</a:t>
            </a:r>
            <a:r>
              <a:rPr lang="en-US" sz="2800" b="1" dirty="0">
                <a:solidFill>
                  <a:srgbClr val="FF0000"/>
                </a:solidFill>
              </a:rPr>
              <a:t>what happened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,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</a:t>
            </a:r>
            <a:r>
              <a:rPr lang="en-US" sz="2800" b="1" dirty="0">
                <a:solidFill>
                  <a:srgbClr val="FF0000"/>
                </a:solidFill>
              </a:rPr>
              <a:t>which operation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where available,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</a:t>
            </a:r>
            <a:r>
              <a:rPr lang="en-US" sz="2800" b="1" dirty="0">
                <a:solidFill>
                  <a:srgbClr val="FF0000"/>
                </a:solidFill>
              </a:rPr>
              <a:t>which analytic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d the symptoms and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	</a:t>
            </a:r>
            <a:r>
              <a:rPr lang="en-US" sz="2800" b="1" dirty="0">
                <a:solidFill>
                  <a:srgbClr val="FF0000"/>
                </a:solidFill>
              </a:rPr>
              <a:t>what improvement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in the network anomaly detection 					system and network telemetry protocols are propos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23057C-339A-4254-8994-8EB77B8B4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2200" smtClean="0"/>
              <a:t>1</a:t>
            </a:fld>
            <a:endParaRPr lang="de-CH" sz="2200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6CAA0765-1318-4A03-8F91-D3ECC43D8FA7}"/>
              </a:ext>
            </a:extLst>
          </p:cNvPr>
          <p:cNvSpPr txBox="1">
            <a:spLocks/>
          </p:cNvSpPr>
          <p:nvPr/>
        </p:nvSpPr>
        <p:spPr>
          <a:xfrm>
            <a:off x="838200" y="5290457"/>
            <a:ext cx="11163943" cy="1071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300"/>
              </a:spcBef>
              <a:buNone/>
              <a:defRPr sz="1782"/>
            </a:pPr>
            <a:r>
              <a:rPr lang="de-CH" sz="1400" dirty="0">
                <a:latin typeface="+mj-lt"/>
              </a:rPr>
              <a:t>thomas.graf@swisscom.com</a:t>
            </a:r>
            <a:br>
              <a:rPr lang="de-CH" sz="1400" dirty="0">
                <a:latin typeface="+mj-lt"/>
              </a:rPr>
            </a:br>
            <a:endParaRPr lang="de-CH" sz="1400" dirty="0">
              <a:latin typeface="+mj-lt"/>
            </a:endParaRPr>
          </a:p>
          <a:p>
            <a:pPr marL="0" indent="0" algn="r">
              <a:spcBef>
                <a:spcPts val="300"/>
              </a:spcBef>
              <a:buNone/>
            </a:pPr>
            <a:r>
              <a:rPr lang="de-CH" sz="1400" dirty="0">
                <a:latin typeface="+mj-lt"/>
              </a:rPr>
              <a:t>01. March </a:t>
            </a:r>
            <a:r>
              <a:rPr lang="de-CH" sz="1400" dirty="0">
                <a:latin typeface="+mj-lt"/>
                <a:ea typeface="+mj-ea"/>
                <a:cs typeface="+mj-cs"/>
              </a:rPr>
              <a:t>2025</a:t>
            </a:r>
            <a:endParaRPr lang="de-CH" sz="1400" dirty="0">
              <a:latin typeface="+mj-lt"/>
            </a:endParaRPr>
          </a:p>
          <a:p>
            <a:pPr algn="r"/>
            <a:endParaRPr lang="de-CH" sz="2200" dirty="0"/>
          </a:p>
        </p:txBody>
      </p:sp>
    </p:spTree>
    <p:extLst>
      <p:ext uri="{BB962C8B-B14F-4D97-AF65-F5344CB8AC3E}">
        <p14:creationId xmlns:p14="http://schemas.microsoft.com/office/powerpoint/2010/main" val="357866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494886-F04C-6343-04B6-F4EAE1B31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635" y="1309677"/>
            <a:ext cx="6266758" cy="498111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0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recognized BGP peering state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check recognized Interface state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recognized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 check did not apply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check did recognize flow spike increase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5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out of 6 checks have detected the interface and BGP topology change and flow count spike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ets perfectly our expectations.</a:t>
            </a: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dirty="0">
                <a:solidFill>
                  <a:schemeClr val="bg1">
                    <a:lumMod val="65000"/>
                  </a:schemeClr>
                </a:solidFill>
              </a:rPr>
              <a:t>Use Case 2</a:t>
            </a:r>
            <a:r>
              <a:rPr lang="de-CH" sz="21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100" dirty="0">
                <a:solidFill>
                  <a:schemeClr val="bg1">
                    <a:lumMod val="65000"/>
                  </a:schemeClr>
                </a:solidFill>
              </a:rPr>
              <a:t>– Network Anomaly Detection 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– </a:t>
            </a:r>
            <a:r>
              <a:rPr lang="en-US" sz="21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12x L3 VPN'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cern Scor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low Count Spik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/Interface Down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91/1.00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Update/Withdrawal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43/0.98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68324C23-657A-4CAD-F137-1E7D2492D4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1" y="4697709"/>
            <a:ext cx="409069" cy="409069"/>
          </a:xfrm>
          <a:prstGeom prst="rect">
            <a:avLst/>
          </a:prstGeom>
        </p:spPr>
      </p:pic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343789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5640374" y="1565140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5994413" y="1565140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8">
            <a:extLst>
              <a:ext uri="{FF2B5EF4-FFF2-40B4-BE49-F238E27FC236}">
                <a16:creationId xmlns:a16="http://schemas.microsoft.com/office/drawing/2014/main" id="{4760E189-4F8E-D099-1DEC-20B5D7680F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0485" y="2337665"/>
            <a:ext cx="409069" cy="409069"/>
          </a:xfrm>
          <a:prstGeom prst="rect">
            <a:avLst/>
          </a:prstGeom>
        </p:spPr>
      </p:pic>
      <p:pic>
        <p:nvPicPr>
          <p:cNvPr id="32" name="Grafik 8">
            <a:extLst>
              <a:ext uri="{FF2B5EF4-FFF2-40B4-BE49-F238E27FC236}">
                <a16:creationId xmlns:a16="http://schemas.microsoft.com/office/drawing/2014/main" id="{0CC6F581-A7FF-5545-93BC-7E9313A85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0485" y="2996480"/>
            <a:ext cx="409069" cy="409069"/>
          </a:xfrm>
          <a:prstGeom prst="rect">
            <a:avLst/>
          </a:prstGeom>
        </p:spPr>
      </p:pic>
      <p:pic>
        <p:nvPicPr>
          <p:cNvPr id="33" name="Grafik 8">
            <a:extLst>
              <a:ext uri="{FF2B5EF4-FFF2-40B4-BE49-F238E27FC236}">
                <a16:creationId xmlns:a16="http://schemas.microsoft.com/office/drawing/2014/main" id="{6B17A72E-6B96-FAD3-010D-E0D5F8541C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0485" y="4051629"/>
            <a:ext cx="409069" cy="409069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865A80A5-4A1F-B7CD-31FC-1CB19E6855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5799" y="3524168"/>
            <a:ext cx="410400" cy="410400"/>
          </a:xfrm>
          <a:prstGeom prst="rect">
            <a:avLst/>
          </a:prstGeom>
        </p:spPr>
      </p:pic>
      <p:pic>
        <p:nvPicPr>
          <p:cNvPr id="6" name="Grafik 8">
            <a:extLst>
              <a:ext uri="{FF2B5EF4-FFF2-40B4-BE49-F238E27FC236}">
                <a16:creationId xmlns:a16="http://schemas.microsoft.com/office/drawing/2014/main" id="{E36DB1BB-9ECD-C331-1281-1FC5A9067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1707854"/>
            <a:ext cx="409069" cy="40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632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DA2EBE-6335-0463-48D5-1619038D8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224" y="1147158"/>
            <a:ext cx="6096637" cy="33803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1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7639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3 – SRv6 Provider Interface State Change –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rational Network Telemetry forwarding plane, YANG-Push, IPFIX, BMP and BGP measured control plane metrics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675515" y="1351892"/>
            <a:ext cx="197172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GP topology change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rief missing traffic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volume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rief flow count change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shift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mong Inter-AS Option A ASBR's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YANG-Push </a:t>
            </a: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nconfig-interface.ya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7A58C01-CF25-5285-2207-A49574B625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1224" y="4527511"/>
            <a:ext cx="6096637" cy="1590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534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155CD4C-85B4-1D35-60EB-6EF9AC2AD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635" y="1293660"/>
            <a:ext cx="6269972" cy="498111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2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recognized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 check did not recognize brief traffic loss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check did not recognize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decreased and increased flow count spik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out of 6 checks have detected the BGP topology change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 and Flow Count changes are hard to recognize </a:t>
            </a:r>
            <a:r>
              <a:rPr lang="en-US" sz="1200" b="1" dirty="0">
                <a:solidFill>
                  <a:srgbClr val="FF0000"/>
                </a:solidFill>
                <a:latin typeface="TheSans Swisscom Light"/>
              </a:rPr>
              <a:t>when many changes occur in short period of time. Nevertheless, lets investigate wherever we have a chance to improv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3</a:t>
            </a:r>
            <a:r>
              <a:rPr lang="de-CH" sz="2100" b="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– Network Anomaly Detection – </a:t>
            </a:r>
            <a:r>
              <a:rPr lang="en-US" sz="21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16x L3 VPN'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cern Scor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3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low Count Spik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1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3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/Interface Down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/0.00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Update/Withdrawal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1.0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/1.00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124714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2163749" y="1499208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2984513" y="1499208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phic 33">
            <a:extLst>
              <a:ext uri="{FF2B5EF4-FFF2-40B4-BE49-F238E27FC236}">
                <a16:creationId xmlns:a16="http://schemas.microsoft.com/office/drawing/2014/main" id="{865A80A5-4A1F-B7CD-31FC-1CB19E6855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5890" y="2255589"/>
            <a:ext cx="410400" cy="410400"/>
          </a:xfrm>
          <a:prstGeom prst="rect">
            <a:avLst/>
          </a:prstGeom>
        </p:spPr>
      </p:pic>
      <p:pic>
        <p:nvPicPr>
          <p:cNvPr id="6" name="Grafik 8">
            <a:extLst>
              <a:ext uri="{FF2B5EF4-FFF2-40B4-BE49-F238E27FC236}">
                <a16:creationId xmlns:a16="http://schemas.microsoft.com/office/drawing/2014/main" id="{E36DB1BB-9ECD-C331-1281-1FC5A9067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1707854"/>
            <a:ext cx="409069" cy="40906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EB15C28-6422-12DA-0843-0166B02F40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4042" y="2712603"/>
            <a:ext cx="410400" cy="410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1CDF565-9330-89F6-45E7-D6B885E11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3948" y="3123003"/>
            <a:ext cx="410400" cy="4104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D8BC5DA-CC63-54FB-F338-6EB05E9DE4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2429" y="3603900"/>
            <a:ext cx="525183" cy="52518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585D150-33C2-380B-F69F-5897ED7259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2428" y="4276891"/>
            <a:ext cx="525183" cy="52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56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F1DBCDE-134E-A5CC-373F-4733D1428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861" y="1157300"/>
            <a:ext cx="6095998" cy="337021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7639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4 – BGP Process Restart –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rational Network Telemetry forwarding plane, YANG-Push, IPFIX, BMP and BGP measured control plane metrics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727422" y="1536558"/>
            <a:ext cx="19717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GP topology change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 change in drops or flow count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shift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mong Inter-AS Option A ASBR's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YANG-Push </a:t>
            </a: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nconfig-interface.ya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20B6661E-EEAF-7DB3-6479-EE18BE6EA7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4814" y="4580206"/>
            <a:ext cx="6093045" cy="1614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425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EC7B400-0305-D759-94E2-00457FEE9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636" y="1293660"/>
            <a:ext cx="6269972" cy="497380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4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recognize peering state change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recognized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Missing Traffic check recognized long term traffic loss on 64498:2949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check did not apply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out of 6 checks have detected the BGP topology and peering state change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ets perfectly our expectations.</a:t>
            </a: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4</a:t>
            </a:r>
            <a:r>
              <a:rPr lang="de-CH" sz="2100" b="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– Network Anomaly Detection – </a:t>
            </a:r>
            <a:r>
              <a:rPr lang="en-US" sz="21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19x L3 VPN'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cern Scor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low Count Spik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3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/Interface Down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1.00/0.00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Update/Withdrawal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1.0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/1.00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124714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6096000" y="1593597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5241938" y="1593597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8">
            <a:extLst>
              <a:ext uri="{FF2B5EF4-FFF2-40B4-BE49-F238E27FC236}">
                <a16:creationId xmlns:a16="http://schemas.microsoft.com/office/drawing/2014/main" id="{E36DB1BB-9ECD-C331-1281-1FC5A9067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1707854"/>
            <a:ext cx="409069" cy="40906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EB15C28-6422-12DA-0843-0166B02F40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4042" y="2874528"/>
            <a:ext cx="410400" cy="410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1CDF565-9330-89F6-45E7-D6B885E11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3948" y="3284928"/>
            <a:ext cx="410400" cy="410400"/>
          </a:xfrm>
          <a:prstGeom prst="rect">
            <a:avLst/>
          </a:prstGeom>
        </p:spPr>
      </p:pic>
      <p:pic>
        <p:nvPicPr>
          <p:cNvPr id="14" name="Grafik 8">
            <a:extLst>
              <a:ext uri="{FF2B5EF4-FFF2-40B4-BE49-F238E27FC236}">
                <a16:creationId xmlns:a16="http://schemas.microsoft.com/office/drawing/2014/main" id="{7F19AA76-CBA1-9B70-1D95-3830BC7D18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139" y="2307929"/>
            <a:ext cx="409069" cy="40906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12CE901-4A54-6069-103A-FCD9F3336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86308" y="3790125"/>
            <a:ext cx="410400" cy="4104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69B452F-A85D-859C-AF7C-82F3B234DC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4042" y="4379478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754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456432C-F5F7-FF17-F6AE-7E25731D1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861" y="1157301"/>
            <a:ext cx="6199444" cy="342290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7639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5– IS-IS Process Restart –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rational Network Telemetry forwarding plane, YANG-Push, IPFIX, BMP and BGP measured control plane metrics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727422" y="1536558"/>
            <a:ext cx="19717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GP topology change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rop adjacency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rief traffic shift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mong Inter-AS Option A ASBR's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YANG-Push </a:t>
            </a: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nconfig-interface.ya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1655405-A014-7D5D-2566-0B7B7B1CC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1862" y="4628889"/>
            <a:ext cx="6199444" cy="164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1611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69B673-C711-1E47-0444-1EF59B388E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636" y="1293660"/>
            <a:ext cx="6345745" cy="498863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6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recognized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Missing Traffic check recognized long term traffic loss on 64498:2949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check did not apply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out of 6 checks have detected the BGP topology change, and traffic drop spike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ets perfectly our expectations.</a:t>
            </a: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5</a:t>
            </a:r>
            <a:r>
              <a:rPr lang="de-CH" sz="2100" b="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– Network Anomaly Detection – </a:t>
            </a:r>
            <a:r>
              <a:rPr lang="en-US" sz="21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19x L3 VPN'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cern Scor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5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low Count Spik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2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1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/Interface Down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00/0.00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Update/Withdrawal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1.0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/1.00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124714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4895850" y="1563041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3940188" y="1593597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8">
            <a:extLst>
              <a:ext uri="{FF2B5EF4-FFF2-40B4-BE49-F238E27FC236}">
                <a16:creationId xmlns:a16="http://schemas.microsoft.com/office/drawing/2014/main" id="{E36DB1BB-9ECD-C331-1281-1FC5A9067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1707854"/>
            <a:ext cx="409069" cy="40906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EB15C28-6422-12DA-0843-0166B02F40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4042" y="2693553"/>
            <a:ext cx="410400" cy="410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1CDF565-9330-89F6-45E7-D6B885E11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3948" y="2256228"/>
            <a:ext cx="410400" cy="410400"/>
          </a:xfrm>
          <a:prstGeom prst="rect">
            <a:avLst/>
          </a:prstGeom>
        </p:spPr>
      </p:pic>
      <p:pic>
        <p:nvPicPr>
          <p:cNvPr id="14" name="Grafik 8">
            <a:extLst>
              <a:ext uri="{FF2B5EF4-FFF2-40B4-BE49-F238E27FC236}">
                <a16:creationId xmlns:a16="http://schemas.microsoft.com/office/drawing/2014/main" id="{7F19AA76-CBA1-9B70-1D95-3830BC7D18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139" y="3193754"/>
            <a:ext cx="409069" cy="40906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12CE901-4A54-6069-103A-FCD9F3336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86308" y="3790125"/>
            <a:ext cx="410400" cy="4104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69B452F-A85D-859C-AF7C-82F3B234DC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84042" y="4379478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55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8EAED79-41BD-85D7-6D90-E215071F7B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862" y="1157301"/>
            <a:ext cx="6254594" cy="347158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17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7639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6– RSP Failover –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rational Network Telemetry forwarding plane, YANG-Push, IPFIX, BMP and BGP measured control plane metrics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727422" y="1536558"/>
            <a:ext cx="1971728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GP topology change and missing traffic during blackholi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drop unknown at recovery and reduced flow count during blackholi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shift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mong Inter-AS Option A ASBR's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YANG-Push </a:t>
            </a: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nconfig-interface.ya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A3CCA6B2-3AED-6E0B-F66E-0CE3E24625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1862" y="4618591"/>
            <a:ext cx="6254594" cy="164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165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5B4253E-4EF9-949F-2076-203D8A799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2" y="1481765"/>
            <a:ext cx="7735559" cy="425405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5353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IPv6 next-hop index invalid transmit adjacency drops -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669628" y="5811671"/>
            <a:ext cx="86719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Operational Network Telemetry YANG-Push collected </a:t>
            </a:r>
            <a:br>
              <a:rPr lang="en-US" sz="1200" b="1" dirty="0"/>
            </a:br>
            <a:r>
              <a:rPr lang="en-US" sz="1200" b="1" dirty="0"/>
              <a:t>NPU drop counter (IPv6 next-hop index invalid transmit adjacency) metrics.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956943" y="2743676"/>
            <a:ext cx="1846143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</a:t>
            </a:r>
            <a:r>
              <a:rPr lang="en-US" sz="1350" b="1" dirty="0">
                <a:solidFill>
                  <a:srgbClr val="FF0000"/>
                </a:solidFill>
              </a:rPr>
              <a:t>egress NPU  drops </a:t>
            </a:r>
            <a:r>
              <a:rPr lang="en-US" sz="1350" b="1" dirty="0"/>
              <a:t>on NPU 4 and 8 on line card 0/0/CPU0 at ipt-zhb790-a-des-02. </a:t>
            </a:r>
            <a:r>
              <a:rPr lang="en-US" sz="1350" b="1" dirty="0">
                <a:solidFill>
                  <a:srgbClr val="92D050"/>
                </a:solidFill>
              </a:rPr>
              <a:t>Measured with YANG-Push.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9341615" y="3155026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8">
            <a:extLst>
              <a:ext uri="{FF2B5EF4-FFF2-40B4-BE49-F238E27FC236}">
                <a16:creationId xmlns:a16="http://schemas.microsoft.com/office/drawing/2014/main" id="{5976BB7B-5469-C884-BBF2-889D86860E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146" y="2299585"/>
            <a:ext cx="409069" cy="40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612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5353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IPFIX does not recognize at ingress the egress drop -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76955" y="4766658"/>
            <a:ext cx="45231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Operational Network Telemetry IPFIX collected metrics showing traffic </a:t>
            </a:r>
            <a:r>
              <a:rPr lang="en-US" sz="1200" b="1" dirty="0">
                <a:solidFill>
                  <a:srgbClr val="FF0000"/>
                </a:solidFill>
              </a:rPr>
              <a:t>originated by IPv6 Tunnel source fd7c:3f00:f06::1</a:t>
            </a:r>
            <a:r>
              <a:rPr lang="en-US" sz="1200" b="1" dirty="0"/>
              <a:t> </a:t>
            </a:r>
            <a:br>
              <a:rPr lang="en-US" sz="1200" b="1" dirty="0"/>
            </a:br>
            <a:r>
              <a:rPr lang="en-US" sz="1200" b="1" dirty="0"/>
              <a:t>(ipt-zhb790-a-des-02).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10168902" y="2131591"/>
            <a:ext cx="1846143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that ingress captured traffic is </a:t>
            </a:r>
            <a:r>
              <a:rPr lang="en-US" sz="1350" b="1" dirty="0">
                <a:solidFill>
                  <a:srgbClr val="FF0000"/>
                </a:solidFill>
              </a:rPr>
              <a:t>measured forwarded mistakenly</a:t>
            </a:r>
            <a:r>
              <a:rPr lang="en-US" sz="1350" b="1" dirty="0"/>
              <a:t>, however then dropped at egress on ipt-zhb790-a-des-02. </a:t>
            </a:r>
            <a:r>
              <a:rPr lang="en-US" sz="1350" b="1" dirty="0">
                <a:solidFill>
                  <a:srgbClr val="92D050"/>
                </a:solidFill>
              </a:rPr>
              <a:t>Measured with IPFIX in different parts of the SRv6 domain.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9246365" y="3155026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8">
            <a:extLst>
              <a:ext uri="{FF2B5EF4-FFF2-40B4-BE49-F238E27FC236}">
                <a16:creationId xmlns:a16="http://schemas.microsoft.com/office/drawing/2014/main" id="{5976BB7B-5469-C884-BBF2-889D86860E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7896" y="2299585"/>
            <a:ext cx="409069" cy="4090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607B58A-5004-7F2F-E91C-3711E8226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955" y="1659601"/>
            <a:ext cx="4355160" cy="29908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5EE99CE-34DF-BCC2-9317-9EF7E8D5A7FF}"/>
              </a:ext>
            </a:extLst>
          </p:cNvPr>
          <p:cNvSpPr/>
          <p:nvPr/>
        </p:nvSpPr>
        <p:spPr>
          <a:xfrm>
            <a:off x="4700092" y="4783666"/>
            <a:ext cx="53312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Operational Network Telemetry IPFIX collected metrics showing </a:t>
            </a:r>
            <a:br>
              <a:rPr lang="en-US" sz="1200" b="1" dirty="0"/>
            </a:br>
            <a:r>
              <a:rPr lang="en-US" sz="1200" b="1" dirty="0">
                <a:solidFill>
                  <a:srgbClr val="FF0000"/>
                </a:solidFill>
              </a:rPr>
              <a:t>traffic on Bundle-Ether2000 and Bundle-Ether2100 egress </a:t>
            </a:r>
            <a:r>
              <a:rPr lang="en-US" sz="1200" b="1" dirty="0"/>
              <a:t>(SRv6 P) at </a:t>
            </a:r>
            <a:br>
              <a:rPr lang="en-US" sz="1200" b="1" dirty="0"/>
            </a:br>
            <a:r>
              <a:rPr lang="en-US" sz="1200" b="1" dirty="0"/>
              <a:t>ipt-zhb790-a-des-02 </a:t>
            </a:r>
            <a:r>
              <a:rPr lang="en-US" sz="1200" b="1" dirty="0">
                <a:solidFill>
                  <a:srgbClr val="FF0000"/>
                </a:solidFill>
              </a:rPr>
              <a:t>captured ingress</a:t>
            </a:r>
            <a:r>
              <a:rPr lang="en-US" sz="1200" b="1" dirty="0"/>
              <a:t>.</a:t>
            </a:r>
            <a:endParaRPr lang="de-CH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D8444C-6048-D5F6-2AFE-A2CE409E74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0092" y="1659601"/>
            <a:ext cx="5331204" cy="292144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24F99C2-A7F2-148D-1554-4A227734E0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51463" y="1606408"/>
            <a:ext cx="525183" cy="52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386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uppieren 37">
            <a:extLst>
              <a:ext uri="{FF2B5EF4-FFF2-40B4-BE49-F238E27FC236}">
                <a16:creationId xmlns:a16="http://schemas.microsoft.com/office/drawing/2014/main" id="{593A3D2C-AF3C-4647-1B02-6C5086C62287}"/>
              </a:ext>
            </a:extLst>
          </p:cNvPr>
          <p:cNvGrpSpPr>
            <a:grpSpLocks noChangeAspect="1"/>
          </p:cNvGrpSpPr>
          <p:nvPr/>
        </p:nvGrpSpPr>
        <p:grpSpPr>
          <a:xfrm>
            <a:off x="4141425" y="5073000"/>
            <a:ext cx="1440000" cy="1440000"/>
            <a:chOff x="9420737" y="1699669"/>
            <a:chExt cx="1440000" cy="1440000"/>
          </a:xfrm>
        </p:grpSpPr>
        <p:sp>
          <p:nvSpPr>
            <p:cNvPr id="3" name="Textfeld 31">
              <a:extLst>
                <a:ext uri="{FF2B5EF4-FFF2-40B4-BE49-F238E27FC236}">
                  <a16:creationId xmlns:a16="http://schemas.microsoft.com/office/drawing/2014/main" id="{21A2E246-8977-0C56-8169-DA0A27B49547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ata Collection</a:t>
              </a:r>
            </a:p>
          </p:txBody>
        </p:sp>
        <p:sp>
          <p:nvSpPr>
            <p:cNvPr id="4" name="Rechteck 32">
              <a:extLst>
                <a:ext uri="{FF2B5EF4-FFF2-40B4-BE49-F238E27FC236}">
                  <a16:creationId xmlns:a16="http://schemas.microsoft.com/office/drawing/2014/main" id="{A20B2D5A-928F-260A-3CF1-C2C4CAA43CF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" name="Gruppieren 86">
            <a:extLst>
              <a:ext uri="{FF2B5EF4-FFF2-40B4-BE49-F238E27FC236}">
                <a16:creationId xmlns:a16="http://schemas.microsoft.com/office/drawing/2014/main" id="{746914D8-DC97-6FCE-CCEC-831AF8343A92}"/>
              </a:ext>
            </a:extLst>
          </p:cNvPr>
          <p:cNvGrpSpPr>
            <a:grpSpLocks noChangeAspect="1"/>
          </p:cNvGrpSpPr>
          <p:nvPr/>
        </p:nvGrpSpPr>
        <p:grpSpPr>
          <a:xfrm>
            <a:off x="1133909" y="3029989"/>
            <a:ext cx="1296000" cy="1296000"/>
            <a:chOff x="9777596" y="4473116"/>
            <a:chExt cx="1440000" cy="1440000"/>
          </a:xfrm>
        </p:grpSpPr>
        <p:sp>
          <p:nvSpPr>
            <p:cNvPr id="8" name="Textfeld 39">
              <a:extLst>
                <a:ext uri="{FF2B5EF4-FFF2-40B4-BE49-F238E27FC236}">
                  <a16:creationId xmlns:a16="http://schemas.microsoft.com/office/drawing/2014/main" id="{677D70B8-28D4-9C31-9D94-D3052A1620B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9777596" y="4473116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781E3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evice Trend Detection</a:t>
              </a:r>
            </a:p>
          </p:txBody>
        </p:sp>
        <p:sp>
          <p:nvSpPr>
            <p:cNvPr id="9" name="Rechteck 40">
              <a:extLst>
                <a:ext uri="{FF2B5EF4-FFF2-40B4-BE49-F238E27FC236}">
                  <a16:creationId xmlns:a16="http://schemas.microsoft.com/office/drawing/2014/main" id="{A7D4BF0B-6AC3-4AA9-E8BD-1253A110E4C1}"/>
                </a:ext>
              </a:extLst>
            </p:cNvPr>
            <p:cNvSpPr/>
            <p:nvPr/>
          </p:nvSpPr>
          <p:spPr>
            <a:xfrm>
              <a:off x="10497596" y="4473116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" name="Gruppieren 42">
            <a:extLst>
              <a:ext uri="{FF2B5EF4-FFF2-40B4-BE49-F238E27FC236}">
                <a16:creationId xmlns:a16="http://schemas.microsoft.com/office/drawing/2014/main" id="{2A39462A-F04D-B596-7A41-2767D485510C}"/>
              </a:ext>
            </a:extLst>
          </p:cNvPr>
          <p:cNvGrpSpPr>
            <a:grpSpLocks noChangeAspect="1"/>
          </p:cNvGrpSpPr>
          <p:nvPr/>
        </p:nvGrpSpPr>
        <p:grpSpPr>
          <a:xfrm>
            <a:off x="2651309" y="3029989"/>
            <a:ext cx="1296000" cy="1296000"/>
            <a:chOff x="9420737" y="1699669"/>
            <a:chExt cx="1440000" cy="1440000"/>
          </a:xfrm>
        </p:grpSpPr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BC202C79-EF00-4794-A5E7-54FD1AD6FFE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EABA9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Verify, Troubleshoot and Notify</a:t>
              </a:r>
            </a:p>
          </p:txBody>
        </p:sp>
        <p:sp>
          <p:nvSpPr>
            <p:cNvPr id="12" name="Rechteck 44">
              <a:extLst>
                <a:ext uri="{FF2B5EF4-FFF2-40B4-BE49-F238E27FC236}">
                  <a16:creationId xmlns:a16="http://schemas.microsoft.com/office/drawing/2014/main" id="{D0BEF0AD-9BD5-957F-DF20-EA76A3E6320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3" name="Gruppieren 45">
            <a:extLst>
              <a:ext uri="{FF2B5EF4-FFF2-40B4-BE49-F238E27FC236}">
                <a16:creationId xmlns:a16="http://schemas.microsoft.com/office/drawing/2014/main" id="{C27136FF-F3FA-F76D-A713-2F31CB874934}"/>
              </a:ext>
            </a:extLst>
          </p:cNvPr>
          <p:cNvGrpSpPr>
            <a:grpSpLocks noChangeAspect="1"/>
          </p:cNvGrpSpPr>
          <p:nvPr/>
        </p:nvGrpSpPr>
        <p:grpSpPr>
          <a:xfrm>
            <a:off x="8723272" y="3104417"/>
            <a:ext cx="1296000" cy="1296000"/>
            <a:chOff x="9420737" y="1699669"/>
            <a:chExt cx="1440000" cy="1440000"/>
          </a:xfrm>
        </p:grpSpPr>
        <p:sp>
          <p:nvSpPr>
            <p:cNvPr id="15" name="Textfeld 46">
              <a:extLst>
                <a:ext uri="{FF2B5EF4-FFF2-40B4-BE49-F238E27FC236}">
                  <a16:creationId xmlns:a16="http://schemas.microsoft.com/office/drawing/2014/main" id="{F228A6D5-55A8-F878-625A-2CFBC2A4CC8C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5944C6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Closed Loop Operation</a:t>
              </a:r>
            </a:p>
          </p:txBody>
        </p:sp>
        <p:sp>
          <p:nvSpPr>
            <p:cNvPr id="16" name="Rechteck 47">
              <a:extLst>
                <a:ext uri="{FF2B5EF4-FFF2-40B4-BE49-F238E27FC236}">
                  <a16:creationId xmlns:a16="http://schemas.microsoft.com/office/drawing/2014/main" id="{B76F4586-6C16-9488-8080-DC2366DDC57B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7" name="Gruppieren 48">
            <a:extLst>
              <a:ext uri="{FF2B5EF4-FFF2-40B4-BE49-F238E27FC236}">
                <a16:creationId xmlns:a16="http://schemas.microsoft.com/office/drawing/2014/main" id="{CEB0384D-AE7F-401C-F7FF-BDAEA866A31A}"/>
              </a:ext>
            </a:extLst>
          </p:cNvPr>
          <p:cNvGrpSpPr>
            <a:grpSpLocks noChangeAspect="1"/>
          </p:cNvGrpSpPr>
          <p:nvPr/>
        </p:nvGrpSpPr>
        <p:grpSpPr>
          <a:xfrm>
            <a:off x="4166756" y="3081453"/>
            <a:ext cx="1296000" cy="1296000"/>
            <a:chOff x="9420737" y="1699669"/>
            <a:chExt cx="1440000" cy="1440000"/>
          </a:xfrm>
        </p:grpSpPr>
        <p:sp>
          <p:nvSpPr>
            <p:cNvPr id="18" name="Textfeld 49">
              <a:extLst>
                <a:ext uri="{FF2B5EF4-FFF2-40B4-BE49-F238E27FC236}">
                  <a16:creationId xmlns:a16="http://schemas.microsoft.com/office/drawing/2014/main" id="{710443C2-A213-C93E-D7DE-9256AD74C9A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DDE3E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Anomaly Detection</a:t>
              </a:r>
            </a:p>
          </p:txBody>
        </p:sp>
        <p:sp>
          <p:nvSpPr>
            <p:cNvPr id="19" name="Rechteck 50">
              <a:extLst>
                <a:ext uri="{FF2B5EF4-FFF2-40B4-BE49-F238E27FC236}">
                  <a16:creationId xmlns:a16="http://schemas.microsoft.com/office/drawing/2014/main" id="{B0C54029-2E2D-F6C0-FCED-13B25FD81DFE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0" name="Gruppieren 51">
            <a:extLst>
              <a:ext uri="{FF2B5EF4-FFF2-40B4-BE49-F238E27FC236}">
                <a16:creationId xmlns:a16="http://schemas.microsoft.com/office/drawing/2014/main" id="{1B5435B3-AE86-5E3B-7DD7-612D9AD30695}"/>
              </a:ext>
            </a:extLst>
          </p:cNvPr>
          <p:cNvGrpSpPr>
            <a:grpSpLocks noChangeAspect="1"/>
          </p:cNvGrpSpPr>
          <p:nvPr/>
        </p:nvGrpSpPr>
        <p:grpSpPr>
          <a:xfrm>
            <a:off x="5670531" y="3029989"/>
            <a:ext cx="1296000" cy="1296000"/>
            <a:chOff x="9420737" y="1699669"/>
            <a:chExt cx="1440000" cy="1440000"/>
          </a:xfrm>
        </p:grpSpPr>
        <p:sp>
          <p:nvSpPr>
            <p:cNvPr id="21" name="Textfeld 52">
              <a:extLst>
                <a:ext uri="{FF2B5EF4-FFF2-40B4-BE49-F238E27FC236}">
                  <a16:creationId xmlns:a16="http://schemas.microsoft.com/office/drawing/2014/main" id="{8B96C491-62EA-C102-02AE-9C35C6819F7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61E64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Visualization </a:t>
              </a:r>
            </a:p>
          </p:txBody>
        </p:sp>
        <p:sp>
          <p:nvSpPr>
            <p:cNvPr id="22" name="Rechteck 53">
              <a:extLst>
                <a:ext uri="{FF2B5EF4-FFF2-40B4-BE49-F238E27FC236}">
                  <a16:creationId xmlns:a16="http://schemas.microsoft.com/office/drawing/2014/main" id="{CD5EEA4E-05C6-79F3-6419-252AE948AC1F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3" name="Gruppieren 54">
            <a:extLst>
              <a:ext uri="{FF2B5EF4-FFF2-40B4-BE49-F238E27FC236}">
                <a16:creationId xmlns:a16="http://schemas.microsoft.com/office/drawing/2014/main" id="{43DA79DF-E42D-79DA-2E63-37571E43F0EB}"/>
              </a:ext>
            </a:extLst>
          </p:cNvPr>
          <p:cNvGrpSpPr>
            <a:grpSpLocks noChangeAspect="1"/>
          </p:cNvGrpSpPr>
          <p:nvPr/>
        </p:nvGrpSpPr>
        <p:grpSpPr>
          <a:xfrm>
            <a:off x="7189919" y="3081453"/>
            <a:ext cx="1296000" cy="1296000"/>
            <a:chOff x="9420737" y="1699669"/>
            <a:chExt cx="1440000" cy="1440000"/>
          </a:xfrm>
        </p:grpSpPr>
        <p:sp>
          <p:nvSpPr>
            <p:cNvPr id="24" name="Textfeld 55">
              <a:extLst>
                <a:ext uri="{FF2B5EF4-FFF2-40B4-BE49-F238E27FC236}">
                  <a16:creationId xmlns:a16="http://schemas.microsoft.com/office/drawing/2014/main" id="{AF618EBE-6571-2ABA-C463-166B9EC84BF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6329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LI and SLO</a:t>
              </a:r>
            </a:p>
          </p:txBody>
        </p:sp>
        <p:sp>
          <p:nvSpPr>
            <p:cNvPr id="25" name="Rechteck 56">
              <a:extLst>
                <a:ext uri="{FF2B5EF4-FFF2-40B4-BE49-F238E27FC236}">
                  <a16:creationId xmlns:a16="http://schemas.microsoft.com/office/drawing/2014/main" id="{6E4AAC49-253A-16CD-EEDC-0B1795F09A96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14B17EC-9407-E3A2-1F7C-D47095BE2DDB}"/>
              </a:ext>
            </a:extLst>
          </p:cNvPr>
          <p:cNvCxnSpPr/>
          <p:nvPr/>
        </p:nvCxnSpPr>
        <p:spPr bwMode="gray">
          <a:xfrm>
            <a:off x="1562428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2C9830F3-CBF4-D372-DBC5-8AB3BCB5DD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6822" y="2105153"/>
            <a:ext cx="410400" cy="4104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7EB060B-2351-6AC0-7856-F33CB05240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13298" y="2119502"/>
            <a:ext cx="410400" cy="410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DF5E834-66E3-AE49-4040-1D628970A3FC}"/>
              </a:ext>
            </a:extLst>
          </p:cNvPr>
          <p:cNvSpPr/>
          <p:nvPr/>
        </p:nvSpPr>
        <p:spPr bwMode="gray">
          <a:xfrm>
            <a:off x="1577989" y="1741622"/>
            <a:ext cx="724220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er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1C20F7-8218-7EF6-0AE8-992862F0E030}"/>
              </a:ext>
            </a:extLst>
          </p:cNvPr>
          <p:cNvSpPr/>
          <p:nvPr/>
        </p:nvSpPr>
        <p:spPr bwMode="gray">
          <a:xfrm>
            <a:off x="2591780" y="1741622"/>
            <a:ext cx="1053436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ostmortem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7DF8467-9125-3982-1295-79F29C9B0DC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34630" y="3240845"/>
            <a:ext cx="469639" cy="35744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70A491-1DB5-77FC-712B-35F7A47E2F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28429" y="5293198"/>
            <a:ext cx="457022" cy="39319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CD1AF5-AD78-AA80-9E26-C4515CC45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94109" y="3122827"/>
            <a:ext cx="424647" cy="3931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DF49D5E-4B86-6869-98D7-DE092FC30B1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94444" y="3151466"/>
            <a:ext cx="454869" cy="39319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6768564-2BA7-E325-FE43-6D4CE762CDA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00566" y="3202810"/>
            <a:ext cx="474707" cy="3931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A0A7074-FC27-6B8B-F899-8DDE2533BB1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085367" y="3192400"/>
            <a:ext cx="474367" cy="39319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966A7CE-25D4-DED2-6D45-788D6CB73B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77989" y="3104417"/>
            <a:ext cx="445123" cy="393192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0DC3853-02C8-D495-EDB1-B0129F6F9E30}"/>
              </a:ext>
            </a:extLst>
          </p:cNvPr>
          <p:cNvCxnSpPr/>
          <p:nvPr/>
        </p:nvCxnSpPr>
        <p:spPr bwMode="gray">
          <a:xfrm>
            <a:off x="1050398" y="4905347"/>
            <a:ext cx="9379274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BC6E6D7-2688-CCDB-6A6C-7880291A8339}"/>
              </a:ext>
            </a:extLst>
          </p:cNvPr>
          <p:cNvCxnSpPr/>
          <p:nvPr/>
        </p:nvCxnSpPr>
        <p:spPr bwMode="gray">
          <a:xfrm>
            <a:off x="1044803" y="2672601"/>
            <a:ext cx="9379274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1686B893-78A4-3D56-EECA-A2AEF814D57E}"/>
              </a:ext>
            </a:extLst>
          </p:cNvPr>
          <p:cNvSpPr/>
          <p:nvPr/>
        </p:nvSpPr>
        <p:spPr bwMode="gray">
          <a:xfrm>
            <a:off x="3461645" y="2212755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network-anomaly-semantic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network-anomaly-lifecyc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CD8EA4A-314A-BB28-E712-414D5F01E35F}"/>
              </a:ext>
            </a:extLst>
          </p:cNvPr>
          <p:cNvCxnSpPr/>
          <p:nvPr/>
        </p:nvCxnSpPr>
        <p:spPr bwMode="gray">
          <a:xfrm>
            <a:off x="2612083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E3CC50D-6BF1-E751-D746-D130EE998D4B}"/>
              </a:ext>
            </a:extLst>
          </p:cNvPr>
          <p:cNvCxnSpPr/>
          <p:nvPr/>
        </p:nvCxnSpPr>
        <p:spPr bwMode="gray">
          <a:xfrm>
            <a:off x="5863467" y="5073000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Data Mesh organizes Data in Organizations</a:t>
            </a:r>
            <a:br>
              <a:rPr lang="en-GB" sz="2400" dirty="0"/>
            </a:br>
            <a:r>
              <a:rPr lang="en-US" sz="2400" dirty="0">
                <a:solidFill>
                  <a:schemeClr val="bg2">
                    <a:lumMod val="75000"/>
                  </a:schemeClr>
                </a:solidFill>
              </a:rPr>
              <a:t>Enables Network Analytics use 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EA8359-DC79-8122-1266-D00A47BFEBE7}"/>
              </a:ext>
            </a:extLst>
          </p:cNvPr>
          <p:cNvSpPr txBox="1"/>
          <p:nvPr/>
        </p:nvSpPr>
        <p:spPr>
          <a:xfrm>
            <a:off x="755754" y="2294617"/>
            <a:ext cx="8021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2"/>
              </a:rPr>
              <a:t>RFC 8632</a:t>
            </a:r>
            <a:endParaRPr kumimoji="0" lang="de-CH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feld 49">
            <a:extLst>
              <a:ext uri="{FF2B5EF4-FFF2-40B4-BE49-F238E27FC236}">
                <a16:creationId xmlns:a16="http://schemas.microsoft.com/office/drawing/2014/main" id="{0BE6D769-3D3F-136C-2542-47D8CD60338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3929403" y="2815301"/>
            <a:ext cx="1761022" cy="1811606"/>
          </a:xfrm>
          <a:prstGeom prst="ellipse">
            <a:avLst/>
          </a:prstGeom>
          <a:solidFill>
            <a:srgbClr val="FF0000">
              <a:alpha val="5000"/>
            </a:srgbClr>
          </a:solidFill>
          <a:ln w="6350">
            <a:solidFill>
              <a:srgbClr val="FF0000"/>
            </a:solidFill>
            <a:prstDash val="sysDot"/>
          </a:ln>
          <a:effectLst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4E115-1F77-20A8-3DA1-68ED2196E5C6}"/>
              </a:ext>
            </a:extLst>
          </p:cNvPr>
          <p:cNvSpPr/>
          <p:nvPr/>
        </p:nvSpPr>
        <p:spPr bwMode="gray">
          <a:xfrm>
            <a:off x="3504586" y="4598248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hlinkClick r:id="rId23"/>
              </a:rPr>
              <a:t>draft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etana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mop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network-anomaly-archite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EDF2F7-CBB1-37EC-1E76-291921B5FC70}"/>
              </a:ext>
            </a:extLst>
          </p:cNvPr>
          <p:cNvSpPr txBox="1"/>
          <p:nvPr/>
        </p:nvSpPr>
        <p:spPr>
          <a:xfrm>
            <a:off x="5935922" y="5186800"/>
            <a:ext cx="59004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Network Telemetry (</a:t>
            </a:r>
            <a:r>
              <a:rPr lang="en-US" sz="1200" b="1" dirty="0">
                <a:solidFill>
                  <a:prstClr val="black"/>
                </a:solidFill>
                <a:hlinkClick r:id="" action="ppaction://noaction"/>
              </a:rPr>
              <a:t>RFC 9232</a:t>
            </a:r>
            <a:r>
              <a:rPr lang="en-US" sz="1200" b="1" dirty="0">
                <a:solidFill>
                  <a:prstClr val="black"/>
                </a:solidFill>
              </a:rPr>
              <a:t>)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en-US" sz="1200" b="1" dirty="0">
                <a:solidFill>
                  <a:prstClr val="black"/>
                </a:solidFill>
              </a:rPr>
              <a:t>IPFIX </a:t>
            </a:r>
            <a:r>
              <a:rPr lang="en-US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  <a:hlinkClick r:id="rId24"/>
              </a:rPr>
              <a:t>RFC 7011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5"/>
              </a:rPr>
              <a:t>RFC 9487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6"/>
              </a:rPr>
              <a:t>RFC 9160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draft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etf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psawg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pfix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n-path-telemetry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BMP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28"/>
              </a:rPr>
              <a:t>RFC 7854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29"/>
              </a:rPr>
              <a:t>RFC 867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0"/>
              </a:rPr>
              <a:t>RFC 906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path-marking-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lucente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rel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YANG-Push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34"/>
              </a:rPr>
              <a:t>RFC 863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5"/>
              </a:rPr>
              <a:t>RFC 864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udp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distributed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ahuang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ya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notifications-version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sequenc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push-observation-time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358FF-EF3C-19A5-B66E-56764914554A}"/>
              </a:ext>
            </a:extLst>
          </p:cNvPr>
          <p:cNvSpPr/>
          <p:nvPr/>
        </p:nvSpPr>
        <p:spPr bwMode="gray">
          <a:xfrm>
            <a:off x="6096000" y="4842000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eration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B2D3939-F517-F366-148A-DF75104D4638}"/>
              </a:ext>
            </a:extLst>
          </p:cNvPr>
          <p:cNvSpPr/>
          <p:nvPr/>
        </p:nvSpPr>
        <p:spPr bwMode="gray">
          <a:xfrm>
            <a:off x="6084464" y="2618584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alytic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10375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859D4D-8F45-E0CB-A7EA-2ADDAC4880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4" y="1293660"/>
            <a:ext cx="6280834" cy="498863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20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route-monitoring Update/Withdraw check recognized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 Down/Up check recognized peering state change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terface Down/Up did not appl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 spike did not apply since IPFIX did not recognize egress drop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Missing Traffic check recognized blackholing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creased or decreased Flow Count check recognize drop spike due to topology change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verall: </a:t>
            </a:r>
            <a:r>
              <a:rPr lang="en-US" sz="1200" b="1" dirty="0">
                <a:solidFill>
                  <a:srgbClr val="333333"/>
                </a:solidFill>
                <a:latin typeface="TheSans Swisscom Light"/>
              </a:rPr>
              <a:t>4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out of 6 checks have detected the BGP topology change, missing traffic and traffic drop spike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ets perfectly our expectations.</a:t>
            </a: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6</a:t>
            </a:r>
            <a:r>
              <a:rPr lang="de-CH" sz="2100" b="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– Network Anomaly Detection – </a:t>
            </a:r>
            <a:r>
              <a:rPr lang="en-US" sz="21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smos Bright Lights Anomaly Detection –  19x L3 VPN'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cern Scor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low Count Spike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7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issing Traffic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Drop: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0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Peer/Interface Down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00/0.96</a:t>
            </a:r>
            <a:b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MP Update/Withdrawal: </a:t>
            </a:r>
            <a:r>
              <a:rPr lang="en-US" sz="1350" b="1" dirty="0">
                <a:solidFill>
                  <a:srgbClr val="FF0000"/>
                </a:solidFill>
                <a:latin typeface="TheSans Swisscom Light"/>
              </a:rPr>
              <a:t>1.00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/1.00</a:t>
            </a:r>
            <a:endParaRPr kumimoji="0" lang="de-CH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5890" y="4688160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3920035" y="1563041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2206922" y="1563041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8">
            <a:extLst>
              <a:ext uri="{FF2B5EF4-FFF2-40B4-BE49-F238E27FC236}">
                <a16:creationId xmlns:a16="http://schemas.microsoft.com/office/drawing/2014/main" id="{E36DB1BB-9ECD-C331-1281-1FC5A9067C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1707854"/>
            <a:ext cx="409069" cy="40906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EB15C28-6422-12DA-0843-0166B02F40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4614" y="2902849"/>
            <a:ext cx="410400" cy="410400"/>
          </a:xfrm>
          <a:prstGeom prst="rect">
            <a:avLst/>
          </a:prstGeom>
        </p:spPr>
      </p:pic>
      <p:pic>
        <p:nvPicPr>
          <p:cNvPr id="14" name="Grafik 8">
            <a:extLst>
              <a:ext uri="{FF2B5EF4-FFF2-40B4-BE49-F238E27FC236}">
                <a16:creationId xmlns:a16="http://schemas.microsoft.com/office/drawing/2014/main" id="{7F19AA76-CBA1-9B70-1D95-3830BC7D18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4614" y="2364144"/>
            <a:ext cx="409069" cy="40906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C12CE901-4A54-6069-103A-FCD9F3336B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85998" y="3377577"/>
            <a:ext cx="410400" cy="4104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4F5E3BE-C586-F273-119A-A29892AE9CD4}"/>
              </a:ext>
            </a:extLst>
          </p:cNvPr>
          <p:cNvCxnSpPr>
            <a:cxnSpLocks/>
          </p:cNvCxnSpPr>
          <p:nvPr/>
        </p:nvCxnSpPr>
        <p:spPr bwMode="gray">
          <a:xfrm>
            <a:off x="4188441" y="1563041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E28BC7B-84EF-4757-BB8D-0FFE3079C43F}"/>
              </a:ext>
            </a:extLst>
          </p:cNvPr>
          <p:cNvCxnSpPr>
            <a:cxnSpLocks/>
          </p:cNvCxnSpPr>
          <p:nvPr/>
        </p:nvCxnSpPr>
        <p:spPr bwMode="gray">
          <a:xfrm>
            <a:off x="4970913" y="1563041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8">
            <a:extLst>
              <a:ext uri="{FF2B5EF4-FFF2-40B4-BE49-F238E27FC236}">
                <a16:creationId xmlns:a16="http://schemas.microsoft.com/office/drawing/2014/main" id="{3DB12161-31FF-BC9A-10A4-1BD4BC8062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4047276"/>
            <a:ext cx="409069" cy="409069"/>
          </a:xfrm>
          <a:prstGeom prst="rect">
            <a:avLst/>
          </a:prstGeom>
        </p:spPr>
      </p:pic>
      <p:pic>
        <p:nvPicPr>
          <p:cNvPr id="13" name="Grafik 8">
            <a:extLst>
              <a:ext uri="{FF2B5EF4-FFF2-40B4-BE49-F238E27FC236}">
                <a16:creationId xmlns:a16="http://schemas.microsoft.com/office/drawing/2014/main" id="{9CCAD9A6-3BC9-D11D-A947-29FB67E686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496189"/>
            <a:ext cx="409069" cy="40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0540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535347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Missing Traffic doesn't have to be always a Network Incid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442076" y="5489634"/>
            <a:ext cx="10966229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Missing Traffic Anomaly Detected based on IPFIX Operational Metrics for 64498:2949.</a:t>
            </a:r>
            <a:endParaRPr lang="de-CH" sz="135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E13699-6C66-40EE-E280-3CF5235A87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076" y="1934699"/>
            <a:ext cx="10966230" cy="3320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0192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535347" cy="720000"/>
          </a:xfrm>
        </p:spPr>
        <p:txBody>
          <a:bodyPr/>
          <a:lstStyle/>
          <a:p>
            <a:r>
              <a:rPr lang="en-US" sz="22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Network Telemetry Packet Analysis at Data Colle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6315150" y="1337201"/>
            <a:ext cx="3010029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that YANG-Push Cisco TCP transport session has </a:t>
            </a:r>
            <a:r>
              <a:rPr lang="en-US" sz="1350" b="1" dirty="0">
                <a:solidFill>
                  <a:srgbClr val="92D050"/>
                </a:solidFill>
              </a:rPr>
              <a:t>been re-established in use case 4 (IS-IS process restart) and use case 6 (RSP failover).</a:t>
            </a:r>
            <a:endParaRPr lang="de-CH" sz="1350" b="1" dirty="0">
              <a:solidFill>
                <a:srgbClr val="FF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14826B-EEDD-174D-F2CA-3B11996D1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5415" y="1052656"/>
            <a:ext cx="3432324" cy="18731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A409685-E25E-A2E8-9AD3-FCCA45E10F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5415" y="2925845"/>
            <a:ext cx="3432324" cy="18820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98B433-5D71-3B10-E950-E36E202BC2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5414" y="4859365"/>
            <a:ext cx="3432323" cy="187541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B4F8DA4-67CB-8AA1-92F9-B1C9DD3327EF}"/>
              </a:ext>
            </a:extLst>
          </p:cNvPr>
          <p:cNvSpPr/>
          <p:nvPr/>
        </p:nvSpPr>
        <p:spPr>
          <a:xfrm>
            <a:off x="6467124" y="3405522"/>
            <a:ext cx="30100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that BMP TCP transport session has been </a:t>
            </a:r>
            <a:r>
              <a:rPr lang="en-US" sz="1350" b="1" dirty="0">
                <a:solidFill>
                  <a:srgbClr val="92D050"/>
                </a:solidFill>
              </a:rPr>
              <a:t>re-established in use case 5 (BGP process restart) and use case 6 (RSP failover).</a:t>
            </a:r>
            <a:endParaRPr lang="de-CH" sz="1350" b="1" dirty="0">
              <a:solidFill>
                <a:srgbClr val="92D05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918C20-AD3D-88A9-ECA1-9ADA731A271E}"/>
              </a:ext>
            </a:extLst>
          </p:cNvPr>
          <p:cNvSpPr/>
          <p:nvPr/>
        </p:nvSpPr>
        <p:spPr>
          <a:xfrm>
            <a:off x="6467124" y="5266094"/>
            <a:ext cx="3010029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that IPFIX UDP transport session has </a:t>
            </a:r>
            <a:r>
              <a:rPr lang="en-US" sz="1350" b="1" dirty="0">
                <a:solidFill>
                  <a:srgbClr val="92D050"/>
                </a:solidFill>
              </a:rPr>
              <a:t>been terminated when SRv6 P interfaces where shutdown</a:t>
            </a:r>
            <a:r>
              <a:rPr lang="en-US" sz="1350" b="1" dirty="0"/>
              <a:t>.</a:t>
            </a:r>
            <a:endParaRPr lang="de-CH" sz="1350" b="1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957EBED-77BA-C09C-39A0-487EEA8842E3}"/>
              </a:ext>
            </a:extLst>
          </p:cNvPr>
          <p:cNvCxnSpPr>
            <a:cxnSpLocks/>
          </p:cNvCxnSpPr>
          <p:nvPr/>
        </p:nvCxnSpPr>
        <p:spPr bwMode="gray">
          <a:xfrm flipH="1">
            <a:off x="5832439" y="1763548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A389D6A-5090-346F-8BEB-2478BDCCF0EC}"/>
              </a:ext>
            </a:extLst>
          </p:cNvPr>
          <p:cNvCxnSpPr>
            <a:cxnSpLocks/>
          </p:cNvCxnSpPr>
          <p:nvPr/>
        </p:nvCxnSpPr>
        <p:spPr bwMode="gray">
          <a:xfrm flipH="1">
            <a:off x="5846143" y="385730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10E8FB7-0458-028C-8D47-CF28163A8C14}"/>
              </a:ext>
            </a:extLst>
          </p:cNvPr>
          <p:cNvCxnSpPr>
            <a:cxnSpLocks/>
          </p:cNvCxnSpPr>
          <p:nvPr/>
        </p:nvCxnSpPr>
        <p:spPr bwMode="gray">
          <a:xfrm flipH="1">
            <a:off x="5896050" y="562388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7527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H="1">
            <a:off x="192024" y="6089904"/>
            <a:ext cx="432048" cy="360000"/>
          </a:xfrm>
        </p:spPr>
        <p:txBody>
          <a:bodyPr/>
          <a:lstStyle/>
          <a:p>
            <a:fld id="{8FF9B0DE-3FEB-4AA0-B465-B80EF7C1333D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E79FDD6D-9F75-4AFA-82DB-2B96D6D9E01B}"/>
              </a:ext>
            </a:extLst>
          </p:cNvPr>
          <p:cNvSpPr txBox="1">
            <a:spLocks/>
          </p:cNvSpPr>
          <p:nvPr/>
        </p:nvSpPr>
        <p:spPr bwMode="black">
          <a:xfrm>
            <a:off x="5430544" y="512699"/>
            <a:ext cx="6551905" cy="138967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rgbClr val="001155"/>
                </a:solidFill>
                <a:latin typeface="+mj-lt"/>
              </a:rPr>
              <a:t>What went well?</a:t>
            </a:r>
          </a:p>
          <a:p>
            <a:pPr>
              <a:spcAft>
                <a:spcPts val="0"/>
              </a:spcAft>
            </a:pPr>
            <a:r>
              <a:rPr lang="en-US" dirty="0">
                <a:solidFill>
                  <a:srgbClr val="001155"/>
                </a:solidFill>
                <a:latin typeface="+mj-lt"/>
              </a:rPr>
              <a:t>IPFIX, BMP and YANG-Push delivered the almost perfect operational view on the impacted network. </a:t>
            </a:r>
          </a:p>
          <a:p>
            <a:pPr>
              <a:spcAft>
                <a:spcPts val="0"/>
              </a:spcAft>
            </a:pPr>
            <a:r>
              <a:rPr lang="en-US" dirty="0">
                <a:solidFill>
                  <a:srgbClr val="001155"/>
                </a:solidFill>
                <a:latin typeface="+mj-lt"/>
              </a:rPr>
              <a:t>Cosmos Bright Lights Network Anomaly Detection was battelled in a series of tests and showed that is more then just ready for production. </a:t>
            </a:r>
            <a:r>
              <a:rPr lang="en-US" b="1" dirty="0">
                <a:solidFill>
                  <a:srgbClr val="FF0000"/>
                </a:solidFill>
                <a:latin typeface="+mj-lt"/>
              </a:rPr>
              <a:t>It excels in most of the areas. </a:t>
            </a:r>
          </a:p>
          <a:p>
            <a:pPr>
              <a:spcAft>
                <a:spcPts val="0"/>
              </a:spcAft>
            </a:pPr>
            <a:r>
              <a:rPr lang="en-US" b="1" dirty="0">
                <a:solidFill>
                  <a:srgbClr val="FF0000"/>
                </a:solidFill>
                <a:latin typeface="+mj-lt"/>
              </a:rPr>
              <a:t>We are real-time. </a:t>
            </a:r>
            <a:r>
              <a:rPr lang="en-US" dirty="0">
                <a:solidFill>
                  <a:srgbClr val="001155"/>
                </a:solidFill>
                <a:latin typeface="+mj-lt"/>
              </a:rPr>
              <a:t>BGP topology changes within 3 seconds. Interface traffic within 60 seconds. IPFIX flow aggregation within 90 seconds. Network Anomaly Detection within 180 seconds.</a:t>
            </a:r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E93810E2-6DE6-4406-AD4F-4A0F58C3FDCE}"/>
              </a:ext>
            </a:extLst>
          </p:cNvPr>
          <p:cNvSpPr txBox="1">
            <a:spLocks/>
          </p:cNvSpPr>
          <p:nvPr/>
        </p:nvSpPr>
        <p:spPr bwMode="black">
          <a:xfrm>
            <a:off x="5452230" y="3455537"/>
            <a:ext cx="6530219" cy="159965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rgbClr val="001155"/>
                </a:solidFill>
                <a:latin typeface="+mj-lt"/>
              </a:rPr>
              <a:t>What could be improved?</a:t>
            </a:r>
          </a:p>
          <a:p>
            <a:pPr>
              <a:spcAft>
                <a:spcPts val="0"/>
              </a:spcAft>
              <a:buClr>
                <a:schemeClr val="accent2">
                  <a:lumMod val="75000"/>
                </a:schemeClr>
              </a:buClr>
            </a:pPr>
            <a:r>
              <a:rPr lang="en-US" dirty="0">
                <a:solidFill>
                  <a:srgbClr val="001155"/>
                </a:solidFill>
                <a:latin typeface="+mj-lt"/>
              </a:rPr>
              <a:t>Detect egress drops on data plane serialization in IPFIX.</a:t>
            </a:r>
          </a:p>
          <a:p>
            <a:pPr>
              <a:spcAft>
                <a:spcPts val="0"/>
              </a:spcAft>
              <a:buClr>
                <a:schemeClr val="accent2">
                  <a:lumMod val="75000"/>
                </a:schemeClr>
              </a:buClr>
            </a:pPr>
            <a:r>
              <a:rPr lang="en-US" dirty="0">
                <a:solidFill>
                  <a:srgbClr val="001155"/>
                </a:solidFill>
                <a:latin typeface="+mj-lt"/>
              </a:rPr>
              <a:t>Include NPU drop verification in resilience analysis and add semantics in Cisco-IOS-XR-asr9k-np-oper.yang describing drop counter meaning.</a:t>
            </a:r>
          </a:p>
          <a:p>
            <a:pPr>
              <a:spcAft>
                <a:spcPts val="0"/>
              </a:spcAft>
              <a:buClr>
                <a:schemeClr val="accent2">
                  <a:lumMod val="75000"/>
                </a:schemeClr>
              </a:buClr>
            </a:pPr>
            <a:r>
              <a:rPr lang="en-US" dirty="0">
                <a:solidFill>
                  <a:srgbClr val="001155"/>
                </a:solidFill>
                <a:latin typeface="+mj-lt"/>
              </a:rPr>
              <a:t>Add "</a:t>
            </a:r>
            <a:r>
              <a:rPr lang="en-US" dirty="0" err="1">
                <a:solidFill>
                  <a:srgbClr val="001155"/>
                </a:solidFill>
                <a:latin typeface="+mj-lt"/>
              </a:rPr>
              <a:t>Cisco-IOS-XR-wdsysmon-fd-oper:system-monitoring</a:t>
            </a:r>
            <a:r>
              <a:rPr lang="en-US" dirty="0">
                <a:solidFill>
                  <a:srgbClr val="001155"/>
                </a:solidFill>
                <a:latin typeface="+mj-lt"/>
              </a:rPr>
              <a:t>/</a:t>
            </a:r>
            <a:r>
              <a:rPr lang="en-US" dirty="0" err="1">
                <a:solidFill>
                  <a:srgbClr val="001155"/>
                </a:solidFill>
                <a:latin typeface="+mj-lt"/>
              </a:rPr>
              <a:t>cpu</a:t>
            </a:r>
            <a:r>
              <a:rPr lang="en-US" dirty="0">
                <a:solidFill>
                  <a:srgbClr val="001155"/>
                </a:solidFill>
                <a:latin typeface="+mj-lt"/>
              </a:rPr>
              <a:t>-utilization" </a:t>
            </a:r>
            <a:r>
              <a:rPr lang="en-US" dirty="0" err="1">
                <a:solidFill>
                  <a:srgbClr val="001155"/>
                </a:solidFill>
                <a:latin typeface="+mj-lt"/>
              </a:rPr>
              <a:t>xpath</a:t>
            </a:r>
            <a:r>
              <a:rPr lang="en-US" dirty="0">
                <a:solidFill>
                  <a:srgbClr val="001155"/>
                </a:solidFill>
                <a:latin typeface="+mj-lt"/>
              </a:rPr>
              <a:t> in YANG-Push configuration.</a:t>
            </a:r>
          </a:p>
          <a:p>
            <a:pPr>
              <a:spcAft>
                <a:spcPts val="0"/>
              </a:spcAft>
              <a:buClr>
                <a:schemeClr val="accent2">
                  <a:lumMod val="75000"/>
                </a:schemeClr>
              </a:buClr>
            </a:pPr>
            <a:r>
              <a:rPr lang="en-US" dirty="0">
                <a:solidFill>
                  <a:srgbClr val="001155"/>
                </a:solidFill>
                <a:latin typeface="+mj-lt"/>
              </a:rPr>
              <a:t>Restart of IS-IS process would have no impact if Network Telemetry transport sessions would have been established </a:t>
            </a:r>
            <a:r>
              <a:rPr lang="en-US" dirty="0" err="1">
                <a:solidFill>
                  <a:srgbClr val="001155"/>
                </a:solidFill>
                <a:latin typeface="+mj-lt"/>
              </a:rPr>
              <a:t>outband</a:t>
            </a:r>
            <a:r>
              <a:rPr lang="en-US" dirty="0">
                <a:solidFill>
                  <a:srgbClr val="001155"/>
                </a:solidFill>
                <a:latin typeface="+mj-lt"/>
              </a:rPr>
              <a:t>. </a:t>
            </a:r>
          </a:p>
          <a:p>
            <a:pPr>
              <a:spcAft>
                <a:spcPts val="0"/>
              </a:spcAft>
              <a:buClr>
                <a:schemeClr val="accent2">
                  <a:lumMod val="75000"/>
                </a:schemeClr>
              </a:buClr>
            </a:pPr>
            <a:r>
              <a:rPr lang="en-US" dirty="0">
                <a:solidFill>
                  <a:srgbClr val="001155"/>
                </a:solidFill>
                <a:latin typeface="+mj-lt"/>
              </a:rPr>
              <a:t>Cisco TAC having access to operative Network Telemetry and network node software process, management plane, tracing data.</a:t>
            </a:r>
          </a:p>
        </p:txBody>
      </p:sp>
      <p:sp>
        <p:nvSpPr>
          <p:cNvPr id="23" name="Freeform 81">
            <a:extLst>
              <a:ext uri="{FF2B5EF4-FFF2-40B4-BE49-F238E27FC236}">
                <a16:creationId xmlns:a16="http://schemas.microsoft.com/office/drawing/2014/main" id="{D8A77483-C2E2-4B4E-A644-4E33880949FE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black">
          <a:xfrm>
            <a:off x="4831556" y="513825"/>
            <a:ext cx="328612" cy="328612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56 w 88"/>
              <a:gd name="T5" fmla="*/ 40 h 88"/>
              <a:gd name="T6" fmla="*/ 56 w 88"/>
              <a:gd name="T7" fmla="*/ 48 h 88"/>
              <a:gd name="T8" fmla="*/ 52 w 88"/>
              <a:gd name="T9" fmla="*/ 52 h 88"/>
              <a:gd name="T10" fmla="*/ 48 w 88"/>
              <a:gd name="T11" fmla="*/ 48 h 88"/>
              <a:gd name="T12" fmla="*/ 48 w 88"/>
              <a:gd name="T13" fmla="*/ 40 h 88"/>
              <a:gd name="T14" fmla="*/ 40 w 88"/>
              <a:gd name="T15" fmla="*/ 40 h 88"/>
              <a:gd name="T16" fmla="*/ 36 w 88"/>
              <a:gd name="T17" fmla="*/ 36 h 88"/>
              <a:gd name="T18" fmla="*/ 40 w 88"/>
              <a:gd name="T19" fmla="*/ 32 h 88"/>
              <a:gd name="T20" fmla="*/ 48 w 88"/>
              <a:gd name="T21" fmla="*/ 32 h 88"/>
              <a:gd name="T22" fmla="*/ 48 w 88"/>
              <a:gd name="T23" fmla="*/ 24 h 88"/>
              <a:gd name="T24" fmla="*/ 52 w 88"/>
              <a:gd name="T25" fmla="*/ 20 h 88"/>
              <a:gd name="T26" fmla="*/ 56 w 88"/>
              <a:gd name="T27" fmla="*/ 24 h 88"/>
              <a:gd name="T28" fmla="*/ 56 w 88"/>
              <a:gd name="T29" fmla="*/ 32 h 88"/>
              <a:gd name="T30" fmla="*/ 64 w 88"/>
              <a:gd name="T31" fmla="*/ 32 h 88"/>
              <a:gd name="T32" fmla="*/ 68 w 88"/>
              <a:gd name="T33" fmla="*/ 36 h 88"/>
              <a:gd name="T34" fmla="*/ 88 w 88"/>
              <a:gd name="T35" fmla="*/ 36 h 88"/>
              <a:gd name="T36" fmla="*/ 52 w 88"/>
              <a:gd name="T37" fmla="*/ 72 h 88"/>
              <a:gd name="T38" fmla="*/ 30 w 88"/>
              <a:gd name="T39" fmla="*/ 64 h 88"/>
              <a:gd name="T40" fmla="*/ 7 w 88"/>
              <a:gd name="T41" fmla="*/ 87 h 88"/>
              <a:gd name="T42" fmla="*/ 1 w 88"/>
              <a:gd name="T43" fmla="*/ 87 h 88"/>
              <a:gd name="T44" fmla="*/ 1 w 88"/>
              <a:gd name="T45" fmla="*/ 81 h 88"/>
              <a:gd name="T46" fmla="*/ 24 w 88"/>
              <a:gd name="T47" fmla="*/ 58 h 88"/>
              <a:gd name="T48" fmla="*/ 16 w 88"/>
              <a:gd name="T49" fmla="*/ 36 h 88"/>
              <a:gd name="T50" fmla="*/ 52 w 88"/>
              <a:gd name="T51" fmla="*/ 0 h 88"/>
              <a:gd name="T52" fmla="*/ 88 w 88"/>
              <a:gd name="T53" fmla="*/ 36 h 88"/>
              <a:gd name="T54" fmla="*/ 80 w 88"/>
              <a:gd name="T55" fmla="*/ 36 h 88"/>
              <a:gd name="T56" fmla="*/ 52 w 88"/>
              <a:gd name="T57" fmla="*/ 8 h 88"/>
              <a:gd name="T58" fmla="*/ 24 w 88"/>
              <a:gd name="T59" fmla="*/ 36 h 88"/>
              <a:gd name="T60" fmla="*/ 52 w 88"/>
              <a:gd name="T61" fmla="*/ 64 h 88"/>
              <a:gd name="T62" fmla="*/ 80 w 88"/>
              <a:gd name="T6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50"/>
                  <a:pt x="54" y="52"/>
                  <a:pt x="52" y="52"/>
                </a:cubicBezTo>
                <a:cubicBezTo>
                  <a:pt x="50" y="52"/>
                  <a:pt x="48" y="50"/>
                  <a:pt x="48" y="48"/>
                </a:cubicBezTo>
                <a:cubicBezTo>
                  <a:pt x="48" y="40"/>
                  <a:pt x="48" y="40"/>
                  <a:pt x="48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22"/>
                  <a:pt x="50" y="20"/>
                  <a:pt x="52" y="20"/>
                </a:cubicBezTo>
                <a:cubicBezTo>
                  <a:pt x="54" y="20"/>
                  <a:pt x="56" y="22"/>
                  <a:pt x="56" y="24"/>
                </a:cubicBezTo>
                <a:cubicBezTo>
                  <a:pt x="56" y="32"/>
                  <a:pt x="56" y="32"/>
                  <a:pt x="56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0EAB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EABA9"/>
              </a:solidFill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B2C03B0-BAD5-4D5D-BD4C-716FFCFABBC0}"/>
              </a:ext>
            </a:extLst>
          </p:cNvPr>
          <p:cNvSpPr txBox="1">
            <a:spLocks/>
          </p:cNvSpPr>
          <p:nvPr/>
        </p:nvSpPr>
        <p:spPr bwMode="black">
          <a:xfrm>
            <a:off x="984249" y="1197204"/>
            <a:ext cx="3044825" cy="755615"/>
          </a:xfrm>
          <a:prstGeom prst="rect">
            <a:avLst/>
          </a:prstGeom>
        </p:spPr>
        <p:txBody>
          <a:bodyPr lIns="0" tIns="28800" rIns="0" bIns="2880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spc="-50" dirty="0"/>
              <a:t>What to do next?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08CBAA49-8C50-4BBA-B474-64DAD99FD5A0}"/>
              </a:ext>
            </a:extLst>
          </p:cNvPr>
          <p:cNvSpPr txBox="1">
            <a:spLocks/>
          </p:cNvSpPr>
          <p:nvPr/>
        </p:nvSpPr>
        <p:spPr bwMode="black">
          <a:xfrm>
            <a:off x="984251" y="2096430"/>
            <a:ext cx="3235324" cy="266514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TheSans Swisscom Light" panose="020B0303020202020204" pitchFamily="34" charset="0"/>
              <a:buChar char="&gt;"/>
            </a:pPr>
            <a:r>
              <a:rPr lang="en-US" sz="1600" b="1" dirty="0">
                <a:solidFill>
                  <a:srgbClr val="FF0000"/>
                </a:solidFill>
                <a:latin typeface="+mj-lt"/>
              </a:rPr>
              <a:t>Evaluate why in use case 1 BGP topology changes were not recognized.</a:t>
            </a:r>
            <a:br>
              <a:rPr lang="en-US" sz="1600" b="1" dirty="0">
                <a:solidFill>
                  <a:srgbClr val="FF0000"/>
                </a:solidFill>
                <a:latin typeface="+mj-lt"/>
              </a:rPr>
            </a:br>
            <a:r>
              <a:rPr lang="en-US" sz="1600" b="1" dirty="0">
                <a:solidFill>
                  <a:srgbClr val="FF0000"/>
                </a:solidFill>
                <a:latin typeface="+mj-lt"/>
              </a:rPr>
              <a:t>-&gt; Ongoing.</a:t>
            </a:r>
          </a:p>
          <a:p>
            <a:pPr marL="342900" indent="-342900"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TheSans Swisscom Light" panose="020B0303020202020204" pitchFamily="34" charset="0"/>
              <a:buChar char="&gt;"/>
            </a:pPr>
            <a:r>
              <a:rPr lang="en-US" sz="1600" b="1" dirty="0">
                <a:solidFill>
                  <a:srgbClr val="FF0000"/>
                </a:solidFill>
                <a:latin typeface="+mj-lt"/>
              </a:rPr>
              <a:t>Evaluate if in use case 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Missing traffic and flow count changes</a:t>
            </a:r>
            <a:r>
              <a:rPr lang="en-US" sz="1600" b="1" dirty="0">
                <a:solidFill>
                  <a:srgbClr val="FF0000"/>
                </a:solidFill>
                <a:latin typeface="+mj-lt"/>
              </a:rPr>
              <a:t> could be detected.</a:t>
            </a:r>
            <a:br>
              <a:rPr lang="en-US" sz="1600" b="1" dirty="0">
                <a:solidFill>
                  <a:srgbClr val="FF0000"/>
                </a:solidFill>
                <a:latin typeface="+mj-lt"/>
              </a:rPr>
            </a:br>
            <a:r>
              <a:rPr lang="en-US" sz="1600" b="1" dirty="0">
                <a:solidFill>
                  <a:srgbClr val="FF0000"/>
                </a:solidFill>
                <a:latin typeface="+mj-lt"/>
              </a:rPr>
              <a:t>-&gt; Ongoing.</a:t>
            </a:r>
          </a:p>
          <a:p>
            <a:pPr marL="342900" indent="-342900"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TheSans Swisscom Light" panose="020B0303020202020204" pitchFamily="34" charset="0"/>
              <a:buChar char="&gt;"/>
            </a:pPr>
            <a:r>
              <a:rPr lang="en-US" sz="1600" b="1" dirty="0">
                <a:solidFill>
                  <a:srgbClr val="FF0000"/>
                </a:solidFill>
                <a:latin typeface="+mj-lt"/>
              </a:rPr>
              <a:t>Clarify wherever egress IPFIX could have identified drops.</a:t>
            </a:r>
            <a:br>
              <a:rPr lang="en-US" sz="1600" b="1" dirty="0">
                <a:solidFill>
                  <a:srgbClr val="FF0000"/>
                </a:solidFill>
                <a:latin typeface="+mj-lt"/>
              </a:rPr>
            </a:br>
            <a:r>
              <a:rPr lang="en-US" sz="1600" b="1">
                <a:solidFill>
                  <a:srgbClr val="FF0000"/>
                </a:solidFill>
                <a:latin typeface="+mj-lt"/>
              </a:rPr>
              <a:t>-&gt; Done.</a:t>
            </a:r>
            <a:endParaRPr lang="en-US" sz="1600" b="1" dirty="0">
              <a:solidFill>
                <a:srgbClr val="FF0000"/>
              </a:solidFill>
              <a:latin typeface="+mj-lt"/>
            </a:endParaRPr>
          </a:p>
          <a:p>
            <a:pPr marL="342900" indent="-342900"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TheSans Swisscom Light" panose="020B0303020202020204" pitchFamily="34" charset="0"/>
              <a:buChar char="&gt;"/>
            </a:pPr>
            <a:r>
              <a:rPr lang="en-US" sz="1600" b="1" dirty="0">
                <a:solidFill>
                  <a:srgbClr val="FF0000"/>
                </a:solidFill>
                <a:latin typeface="+mj-lt"/>
              </a:rPr>
              <a:t>Persist operational data in TSDB for training purposes. </a:t>
            </a:r>
            <a:br>
              <a:rPr lang="en-US" sz="1600" b="1" dirty="0">
                <a:solidFill>
                  <a:srgbClr val="FF0000"/>
                </a:solidFill>
                <a:latin typeface="+mj-lt"/>
              </a:rPr>
            </a:br>
            <a:r>
              <a:rPr lang="en-US" sz="1600" b="1" dirty="0">
                <a:solidFill>
                  <a:srgbClr val="FF0000"/>
                </a:solidFill>
                <a:latin typeface="+mj-lt"/>
              </a:rPr>
              <a:t>-&gt; Done.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TheSans Swisscom Light" panose="020B0303020202020204" pitchFamily="34" charset="0"/>
              <a:buChar char="&gt;"/>
            </a:pPr>
            <a:endParaRPr lang="en-US" sz="1600" b="1" dirty="0">
              <a:solidFill>
                <a:srgbClr val="FF0000"/>
              </a:solidFill>
            </a:endParaRPr>
          </a:p>
        </p:txBody>
      </p:sp>
      <p:pic>
        <p:nvPicPr>
          <p:cNvPr id="20" name="Grafik 8">
            <a:extLst>
              <a:ext uri="{FF2B5EF4-FFF2-40B4-BE49-F238E27FC236}">
                <a16:creationId xmlns:a16="http://schemas.microsoft.com/office/drawing/2014/main" id="{CDD8C5D2-B773-43F6-AC51-25C90CB1C9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0196" y="2067319"/>
            <a:ext cx="409069" cy="409069"/>
          </a:xfrm>
          <a:prstGeom prst="rect">
            <a:avLst/>
          </a:prstGeom>
        </p:spPr>
      </p:pic>
      <p:pic>
        <p:nvPicPr>
          <p:cNvPr id="18" name="Grafik 8">
            <a:extLst>
              <a:ext uri="{FF2B5EF4-FFF2-40B4-BE49-F238E27FC236}">
                <a16:creationId xmlns:a16="http://schemas.microsoft.com/office/drawing/2014/main" id="{542EBDB7-07EC-0AD1-2FC2-338D3BA7E1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0197" y="1625132"/>
            <a:ext cx="409069" cy="409069"/>
          </a:xfrm>
          <a:prstGeom prst="rect">
            <a:avLst/>
          </a:prstGeom>
        </p:spPr>
      </p:pic>
      <p:pic>
        <p:nvPicPr>
          <p:cNvPr id="22" name="Grafik 8">
            <a:extLst>
              <a:ext uri="{FF2B5EF4-FFF2-40B4-BE49-F238E27FC236}">
                <a16:creationId xmlns:a16="http://schemas.microsoft.com/office/drawing/2014/main" id="{5F1F7C4E-3F37-6140-00C1-7D8517E311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9721" y="2509135"/>
            <a:ext cx="409069" cy="409069"/>
          </a:xfrm>
          <a:prstGeom prst="rect">
            <a:avLst/>
          </a:prstGeom>
        </p:spPr>
      </p:pic>
      <p:sp>
        <p:nvSpPr>
          <p:cNvPr id="24" name="Freeform 86">
            <a:extLst>
              <a:ext uri="{FF2B5EF4-FFF2-40B4-BE49-F238E27FC236}">
                <a16:creationId xmlns:a16="http://schemas.microsoft.com/office/drawing/2014/main" id="{127FE108-E799-456B-944D-5FCC031C5CCB}"/>
              </a:ext>
            </a:extLst>
          </p:cNvPr>
          <p:cNvSpPr>
            <a:spLocks noEditPoints="1"/>
          </p:cNvSpPr>
          <p:nvPr>
            <p:custDataLst>
              <p:tags r:id="rId2"/>
            </p:custDataLst>
          </p:nvPr>
        </p:nvSpPr>
        <p:spPr bwMode="black">
          <a:xfrm>
            <a:off x="4828381" y="3455536"/>
            <a:ext cx="331787" cy="363220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40 w 88"/>
              <a:gd name="T5" fmla="*/ 40 h 88"/>
              <a:gd name="T6" fmla="*/ 36 w 88"/>
              <a:gd name="T7" fmla="*/ 36 h 88"/>
              <a:gd name="T8" fmla="*/ 40 w 88"/>
              <a:gd name="T9" fmla="*/ 32 h 88"/>
              <a:gd name="T10" fmla="*/ 64 w 88"/>
              <a:gd name="T11" fmla="*/ 32 h 88"/>
              <a:gd name="T12" fmla="*/ 68 w 88"/>
              <a:gd name="T13" fmla="*/ 36 h 88"/>
              <a:gd name="T14" fmla="*/ 88 w 88"/>
              <a:gd name="T15" fmla="*/ 36 h 88"/>
              <a:gd name="T16" fmla="*/ 52 w 88"/>
              <a:gd name="T17" fmla="*/ 72 h 88"/>
              <a:gd name="T18" fmla="*/ 30 w 88"/>
              <a:gd name="T19" fmla="*/ 64 h 88"/>
              <a:gd name="T20" fmla="*/ 7 w 88"/>
              <a:gd name="T21" fmla="*/ 87 h 88"/>
              <a:gd name="T22" fmla="*/ 1 w 88"/>
              <a:gd name="T23" fmla="*/ 87 h 88"/>
              <a:gd name="T24" fmla="*/ 1 w 88"/>
              <a:gd name="T25" fmla="*/ 81 h 88"/>
              <a:gd name="T26" fmla="*/ 24 w 88"/>
              <a:gd name="T27" fmla="*/ 58 h 88"/>
              <a:gd name="T28" fmla="*/ 16 w 88"/>
              <a:gd name="T29" fmla="*/ 36 h 88"/>
              <a:gd name="T30" fmla="*/ 52 w 88"/>
              <a:gd name="T31" fmla="*/ 0 h 88"/>
              <a:gd name="T32" fmla="*/ 88 w 88"/>
              <a:gd name="T33" fmla="*/ 36 h 88"/>
              <a:gd name="T34" fmla="*/ 80 w 88"/>
              <a:gd name="T35" fmla="*/ 36 h 88"/>
              <a:gd name="T36" fmla="*/ 52 w 88"/>
              <a:gd name="T37" fmla="*/ 8 h 88"/>
              <a:gd name="T38" fmla="*/ 24 w 88"/>
              <a:gd name="T39" fmla="*/ 36 h 88"/>
              <a:gd name="T40" fmla="*/ 52 w 88"/>
              <a:gd name="T41" fmla="*/ 64 h 88"/>
              <a:gd name="T42" fmla="*/ 80 w 88"/>
              <a:gd name="T4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E61E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EABA9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FE1C7F2-7979-A62A-9378-6CE5A89CCF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78865" y="3909998"/>
            <a:ext cx="410400" cy="410400"/>
          </a:xfrm>
          <a:prstGeom prst="rect">
            <a:avLst/>
          </a:prstGeom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BD72153B-2E7C-A072-397B-E18DF215E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0672" y="1015532"/>
            <a:ext cx="409069" cy="40906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DC3B2E5-4888-907E-43FB-83D56DD532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88390" y="4367198"/>
            <a:ext cx="410400" cy="4104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229AD82-BC3A-A0FC-DAC3-ED92E2DC9C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82307" y="5473392"/>
            <a:ext cx="410400" cy="4104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6DA5FCD-5D3F-444D-C64B-4559C44D7E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92663" y="6096309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81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14</a:t>
            </a:r>
          </a:p>
          <a:p>
            <a:r>
              <a:rPr lang="en-US" sz="2000" dirty="0">
                <a:solidFill>
                  <a:schemeClr val="tx1"/>
                </a:solidFill>
              </a:rPr>
              <a:t>Should not have</a:t>
            </a:r>
          </a:p>
          <a:p>
            <a:r>
              <a:rPr lang="en-US" sz="2000" dirty="0">
                <a:solidFill>
                  <a:schemeClr val="tx1"/>
                </a:solidFill>
              </a:rPr>
              <a:t>alerted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552944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4046372C-E408-4192-B828-970B019234EA}"/>
              </a:ext>
            </a:extLst>
          </p:cNvPr>
          <p:cNvCxnSpPr>
            <a:cxnSpLocks/>
          </p:cNvCxnSpPr>
          <p:nvPr/>
        </p:nvCxnSpPr>
        <p:spPr bwMode="gray">
          <a:xfrm>
            <a:off x="737126" y="1945674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79213351-B4A1-499A-80D3-E7334E433E3F}"/>
              </a:ext>
            </a:extLst>
          </p:cNvPr>
          <p:cNvSpPr/>
          <p:nvPr/>
        </p:nvSpPr>
        <p:spPr bwMode="gray">
          <a:xfrm>
            <a:off x="737126" y="1945674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sz="2200" b="1" dirty="0">
                <a:solidFill>
                  <a:schemeClr val="tx1"/>
                </a:solidFill>
              </a:rPr>
              <a:t>3</a:t>
            </a:r>
          </a:p>
          <a:p>
            <a:r>
              <a:rPr lang="en-US" sz="2000" dirty="0">
                <a:solidFill>
                  <a:schemeClr val="tx1"/>
                </a:solidFill>
              </a:rPr>
              <a:t>Inventory was</a:t>
            </a:r>
          </a:p>
          <a:p>
            <a:r>
              <a:rPr lang="en-US" sz="2000" dirty="0">
                <a:solidFill>
                  <a:schemeClr val="tx1"/>
                </a:solidFill>
              </a:rPr>
              <a:t>added/removed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4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5750364" y="2552944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19</a:t>
            </a:r>
          </a:p>
          <a:p>
            <a:pPr algn="r"/>
            <a:r>
              <a:rPr lang="en-US" sz="2000" dirty="0">
                <a:solidFill>
                  <a:schemeClr val="tx1"/>
                </a:solidFill>
              </a:rPr>
              <a:t>Works perfectl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sz="2200" b="1" dirty="0">
                <a:solidFill>
                  <a:schemeClr val="tx1"/>
                </a:solidFill>
              </a:rPr>
              <a:t>15</a:t>
            </a:r>
          </a:p>
          <a:p>
            <a:pPr algn="r"/>
            <a:r>
              <a:rPr lang="en-US" sz="2000" dirty="0">
                <a:solidFill>
                  <a:schemeClr val="tx1"/>
                </a:solidFill>
              </a:rPr>
              <a:t>Could</a:t>
            </a:r>
          </a:p>
          <a:p>
            <a:pPr algn="r"/>
            <a:r>
              <a:rPr lang="en-US" sz="2000" dirty="0">
                <a:solidFill>
                  <a:schemeClr val="tx1"/>
                </a:solidFill>
              </a:rPr>
              <a:t>be improved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51 Alert Notifications since January 9th 2025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smos Bright Lights Full Scale Summary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With &gt;13'000 L3 VPN's after 16 days and 31 Notifications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80866" y="1666877"/>
            <a:ext cx="3151601" cy="386108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b="1" dirty="0">
                <a:solidFill>
                  <a:srgbClr val="001155"/>
                </a:solidFill>
                <a:latin typeface="+mj-lt"/>
              </a:rPr>
              <a:t>Key Facts in 2025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99.92% of the time the analytical conclusions are correct. Not considering false negatives yet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Even with &gt;13'000 L3 VPN's monitored, only 0-5 alerts a day, far lower then expected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The addition and removal of VPN's impacts false positives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Often, network operation is not aware of the connectivity service topology change or the forwarding impact.</a:t>
            </a:r>
          </a:p>
        </p:txBody>
      </p:sp>
    </p:spTree>
    <p:extLst>
      <p:ext uri="{BB962C8B-B14F-4D97-AF65-F5344CB8AC3E}">
        <p14:creationId xmlns:p14="http://schemas.microsoft.com/office/powerpoint/2010/main" val="6927746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 flipV="1">
            <a:off x="1199848" y="2008339"/>
            <a:ext cx="3183598" cy="716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1217389" y="2019432"/>
            <a:ext cx="1904647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b="1" dirty="0">
                <a:solidFill>
                  <a:schemeClr val="tx1"/>
                </a:solidFill>
              </a:rPr>
              <a:t>6</a:t>
            </a:r>
          </a:p>
          <a:p>
            <a:r>
              <a:rPr lang="en-US" dirty="0">
                <a:solidFill>
                  <a:schemeClr val="tx1"/>
                </a:solidFill>
              </a:rPr>
              <a:t>BMP route-monitoring updates, topology change not detected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1185482" y="4156540"/>
            <a:ext cx="255058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 flipV="1">
            <a:off x="6018492" y="2238192"/>
            <a:ext cx="1697304" cy="326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2203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6353416" y="2238192"/>
            <a:ext cx="1362380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b="1" dirty="0">
                <a:solidFill>
                  <a:schemeClr val="tx1"/>
                </a:solidFill>
              </a:rPr>
              <a:t>15</a:t>
            </a:r>
          </a:p>
          <a:p>
            <a:pPr algn="r"/>
            <a:r>
              <a:rPr lang="en-US" dirty="0">
                <a:solidFill>
                  <a:schemeClr val="tx1"/>
                </a:solidFill>
              </a:rPr>
              <a:t>Oth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1257626" y="419596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b="1" dirty="0">
                <a:solidFill>
                  <a:schemeClr val="tx1"/>
                </a:solidFill>
              </a:rPr>
              <a:t>8</a:t>
            </a:r>
          </a:p>
          <a:p>
            <a:r>
              <a:rPr lang="en-US" dirty="0">
                <a:solidFill>
                  <a:schemeClr val="tx1"/>
                </a:solidFill>
              </a:rPr>
              <a:t>Missing traffic default strategy to sensitive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373606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29 Alert Notifications to Improve since January 9th 2025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smos Bright Lights Full Scale Detail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Where to improve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29758" y="442265"/>
            <a:ext cx="3184602" cy="629443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2"/>
              </a:buClr>
              <a:defRPr/>
            </a:pPr>
            <a:r>
              <a:rPr lang="en-US" sz="2000" b="1" dirty="0">
                <a:solidFill>
                  <a:srgbClr val="001155"/>
                </a:solidFill>
                <a:latin typeface="+mj-lt"/>
              </a:rPr>
              <a:t>Improvements in PI 25-1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/>
              <a:t>Adjust sensitivity in missing traffic default strategy (already deployed)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Suppress alerts when L3 VPN was removed in inventory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Add URL's in concern objects.</a:t>
            </a:r>
          </a:p>
          <a:p>
            <a:pPr>
              <a:buClr>
                <a:schemeClr val="accent2"/>
              </a:buClr>
              <a:defRPr/>
            </a:pPr>
            <a:r>
              <a:rPr lang="en-US" sz="2000" b="1" dirty="0">
                <a:solidFill>
                  <a:srgbClr val="001155"/>
                </a:solidFill>
                <a:latin typeface="+mj-lt"/>
              </a:rPr>
              <a:t>Improvements in 2025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Improve profiling for BMP route-monitoring updates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Implement draft-</a:t>
            </a:r>
            <a:r>
              <a:rPr lang="en-US" dirty="0" err="1"/>
              <a:t>ietf</a:t>
            </a:r>
            <a:r>
              <a:rPr lang="en-US" dirty="0"/>
              <a:t>-</a:t>
            </a:r>
            <a:r>
              <a:rPr lang="en-US" dirty="0" err="1"/>
              <a:t>nmop</a:t>
            </a:r>
            <a:r>
              <a:rPr lang="en-US" dirty="0"/>
              <a:t>-network-anomaly-semantics information model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Implement draft-</a:t>
            </a:r>
            <a:r>
              <a:rPr lang="en-US" dirty="0" err="1"/>
              <a:t>ietf</a:t>
            </a:r>
            <a:r>
              <a:rPr lang="en-US" dirty="0"/>
              <a:t>-</a:t>
            </a:r>
            <a:r>
              <a:rPr lang="en-US" dirty="0" err="1"/>
              <a:t>nmop</a:t>
            </a:r>
            <a:r>
              <a:rPr lang="en-US" dirty="0"/>
              <a:t>-network-anomaly-lifecycle information model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Establish postmortem system to scale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Measure false negatives.</a:t>
            </a: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589836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 Verbindung 41">
            <a:extLst>
              <a:ext uri="{FF2B5EF4-FFF2-40B4-BE49-F238E27FC236}">
                <a16:creationId xmlns:a16="http://schemas.microsoft.com/office/drawing/2014/main" id="{E8B360E8-35F5-65CB-CFA5-F246ECD87926}"/>
              </a:ext>
            </a:extLst>
          </p:cNvPr>
          <p:cNvCxnSpPr>
            <a:cxnSpLocks/>
          </p:cNvCxnSpPr>
          <p:nvPr/>
        </p:nvCxnSpPr>
        <p:spPr bwMode="gray">
          <a:xfrm>
            <a:off x="5209606" y="4990735"/>
            <a:ext cx="2498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24794628-93B2-4287-8DE8-8D7DA287A7AC}"/>
              </a:ext>
            </a:extLst>
          </p:cNvPr>
          <p:cNvCxnSpPr>
            <a:cxnSpLocks/>
          </p:cNvCxnSpPr>
          <p:nvPr/>
        </p:nvCxnSpPr>
        <p:spPr bwMode="gray">
          <a:xfrm flipV="1">
            <a:off x="4688490" y="2284478"/>
            <a:ext cx="2783624" cy="1109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8B456E0E-5DDE-4089-9DCE-9AAA5FDE8DF1}"/>
              </a:ext>
            </a:extLst>
          </p:cNvPr>
          <p:cNvSpPr/>
          <p:nvPr/>
        </p:nvSpPr>
        <p:spPr bwMode="gray">
          <a:xfrm>
            <a:off x="5220217" y="2284478"/>
            <a:ext cx="2251897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b="1" dirty="0">
                <a:solidFill>
                  <a:schemeClr val="tx1"/>
                </a:solidFill>
              </a:rPr>
              <a:t>10</a:t>
            </a:r>
          </a:p>
          <a:p>
            <a:pPr algn="r"/>
            <a:r>
              <a:rPr lang="en-US" dirty="0">
                <a:solidFill>
                  <a:schemeClr val="tx1"/>
                </a:solidFill>
              </a:rPr>
              <a:t>Swisscom Transformation</a:t>
            </a:r>
          </a:p>
        </p:txBody>
      </p:sp>
      <p:cxnSp>
        <p:nvCxnSpPr>
          <p:cNvPr id="42" name="Gerade Verbindung 36">
            <a:extLst>
              <a:ext uri="{FF2B5EF4-FFF2-40B4-BE49-F238E27FC236}">
                <a16:creationId xmlns:a16="http://schemas.microsoft.com/office/drawing/2014/main" id="{75ED4159-BB32-47C2-A4F6-8479D199AB55}"/>
              </a:ext>
            </a:extLst>
          </p:cNvPr>
          <p:cNvCxnSpPr>
            <a:cxnSpLocks/>
          </p:cNvCxnSpPr>
          <p:nvPr/>
        </p:nvCxnSpPr>
        <p:spPr bwMode="gray">
          <a:xfrm>
            <a:off x="393001" y="2484494"/>
            <a:ext cx="255058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1">
            <a:extLst>
              <a:ext uri="{FF2B5EF4-FFF2-40B4-BE49-F238E27FC236}">
                <a16:creationId xmlns:a16="http://schemas.microsoft.com/office/drawing/2014/main" id="{762036C5-E77B-4751-812A-6832DCE80D84}"/>
              </a:ext>
            </a:extLst>
          </p:cNvPr>
          <p:cNvCxnSpPr>
            <a:cxnSpLocks/>
          </p:cNvCxnSpPr>
          <p:nvPr/>
        </p:nvCxnSpPr>
        <p:spPr bwMode="gray">
          <a:xfrm flipV="1">
            <a:off x="5486891" y="3669144"/>
            <a:ext cx="2586820" cy="326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4046372C-E408-4192-B828-970B019234EA}"/>
              </a:ext>
            </a:extLst>
          </p:cNvPr>
          <p:cNvCxnSpPr>
            <a:cxnSpLocks/>
          </p:cNvCxnSpPr>
          <p:nvPr/>
        </p:nvCxnSpPr>
        <p:spPr bwMode="gray">
          <a:xfrm>
            <a:off x="407368" y="482472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79213351-B4A1-499A-80D3-E7334E433E3F}"/>
              </a:ext>
            </a:extLst>
          </p:cNvPr>
          <p:cNvSpPr/>
          <p:nvPr/>
        </p:nvSpPr>
        <p:spPr bwMode="gray">
          <a:xfrm>
            <a:off x="498676" y="4824720"/>
            <a:ext cx="2674291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b="1" dirty="0">
                <a:solidFill>
                  <a:schemeClr val="tx1"/>
                </a:solidFill>
              </a:rPr>
              <a:t>16</a:t>
            </a:r>
          </a:p>
          <a:p>
            <a:r>
              <a:rPr lang="en-US" dirty="0">
                <a:solidFill>
                  <a:schemeClr val="tx1"/>
                </a:solidFill>
              </a:rPr>
              <a:t>Network Telemetry Enhancements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at Vendor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8EE7777F-2068-4967-99F5-C7AAE9E0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8CA8D263-7904-4811-AC9D-A10A3C4D3AF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4D0EFE4-0E47-4FA6-B495-302B113396E3}"/>
              </a:ext>
            </a:extLst>
          </p:cNvPr>
          <p:cNvSpPr/>
          <p:nvPr/>
        </p:nvSpPr>
        <p:spPr bwMode="gray">
          <a:xfrm>
            <a:off x="5821814" y="3669144"/>
            <a:ext cx="2251897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algn="r"/>
            <a:r>
              <a:rPr lang="en-US" b="1" dirty="0">
                <a:solidFill>
                  <a:schemeClr val="tx1"/>
                </a:solidFill>
              </a:rPr>
              <a:t>9</a:t>
            </a:r>
          </a:p>
          <a:p>
            <a:pPr algn="r"/>
            <a:r>
              <a:rPr lang="en-US" dirty="0">
                <a:solidFill>
                  <a:schemeClr val="tx1"/>
                </a:solidFill>
              </a:rPr>
              <a:t>Network Telemetry Enhancements at IETF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7258568-8D29-440F-91D9-B6AC77A42C48}"/>
              </a:ext>
            </a:extLst>
          </p:cNvPr>
          <p:cNvSpPr/>
          <p:nvPr/>
        </p:nvSpPr>
        <p:spPr bwMode="gray">
          <a:xfrm>
            <a:off x="465145" y="2523914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r>
              <a:rPr lang="en-US" b="1" dirty="0">
                <a:solidFill>
                  <a:schemeClr val="tx1"/>
                </a:solidFill>
              </a:rPr>
              <a:t>11</a:t>
            </a:r>
          </a:p>
          <a:p>
            <a:r>
              <a:rPr lang="en-US" dirty="0">
                <a:solidFill>
                  <a:schemeClr val="tx1"/>
                </a:solidFill>
              </a:rPr>
              <a:t>Network Anomaly Detection Enhancements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A3F780A5-BEEB-42EF-A88D-19FF59B9485A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58 Postmortem Improvement</a:t>
            </a:r>
          </a:p>
          <a:p>
            <a:pPr algn="ctr"/>
            <a:r>
              <a:rPr lang="en-US" sz="2000" b="1" dirty="0">
                <a:solidFill>
                  <a:schemeClr val="tx1"/>
                </a:solidFill>
              </a:rPr>
              <a:t>Suggestions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AE0C8B0E-A4DE-0F83-CE09-A20D71FC3655}"/>
              </a:ext>
            </a:extLst>
          </p:cNvPr>
          <p:cNvSpPr txBox="1">
            <a:spLocks/>
          </p:cNvSpPr>
          <p:nvPr/>
        </p:nvSpPr>
        <p:spPr>
          <a:xfrm>
            <a:off x="1027998" y="332656"/>
            <a:ext cx="9279784" cy="72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spc="-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etwork Analytics Postmortem 2022-2024 Summary</a:t>
            </a:r>
            <a:br>
              <a:rPr lang="en-US" dirty="0"/>
            </a:br>
            <a:r>
              <a:rPr lang="en-US" b="0" dirty="0">
                <a:solidFill>
                  <a:schemeClr val="bg1">
                    <a:lumMod val="65000"/>
                  </a:schemeClr>
                </a:solidFill>
              </a:rPr>
              <a:t>Steadily Improving in the last 36 months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6DC81F34-7EA9-C84D-D7BC-2F5514AC4CE4}"/>
              </a:ext>
            </a:extLst>
          </p:cNvPr>
          <p:cNvSpPr txBox="1">
            <a:spLocks/>
          </p:cNvSpPr>
          <p:nvPr/>
        </p:nvSpPr>
        <p:spPr bwMode="black">
          <a:xfrm>
            <a:off x="8729758" y="238125"/>
            <a:ext cx="3342005" cy="649857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2"/>
              </a:buClr>
              <a:defRPr/>
            </a:pPr>
            <a:r>
              <a:rPr lang="en-US" sz="2000" b="1" dirty="0">
                <a:solidFill>
                  <a:srgbClr val="001155"/>
                </a:solidFill>
                <a:latin typeface="+mj-lt"/>
              </a:rPr>
              <a:t>Key Facts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66% of the suggestions have already been addressed at the IETF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30% of the suggestions for Network Anomaly Detection has already been implemented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33% of the Network and Daisy team backlogs has already been implemented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>
                <a:solidFill>
                  <a:srgbClr val="FF0000"/>
                </a:solidFill>
              </a:rPr>
              <a:t>0% of the Swisscom transformation items have been addressed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BMP Local RIB All Path with Path Marking support has been missed 6 times and will be implemented by Huawei, Cisco and possibly 6Wind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b="1" dirty="0">
                <a:solidFill>
                  <a:srgbClr val="FF0000"/>
                </a:solidFill>
              </a:rPr>
              <a:t>IPFIX </a:t>
            </a:r>
            <a:r>
              <a:rPr lang="en-US" b="1" dirty="0" err="1">
                <a:solidFill>
                  <a:srgbClr val="FF0000"/>
                </a:solidFill>
              </a:rPr>
              <a:t>ForwardingStatus</a:t>
            </a:r>
            <a:r>
              <a:rPr lang="en-US" b="1" dirty="0">
                <a:solidFill>
                  <a:srgbClr val="FF0000"/>
                </a:solidFill>
              </a:rPr>
              <a:t> not been implemented in Juniper </a:t>
            </a:r>
            <a:r>
              <a:rPr lang="en-US" b="1" dirty="0" err="1">
                <a:solidFill>
                  <a:srgbClr val="FF0000"/>
                </a:solidFill>
              </a:rPr>
              <a:t>JunOS</a:t>
            </a:r>
            <a:r>
              <a:rPr lang="en-US" b="1" dirty="0">
                <a:solidFill>
                  <a:srgbClr val="FF0000"/>
                </a:solidFill>
              </a:rPr>
              <a:t> has been missed 3 times. No plans for implementation.</a:t>
            </a:r>
          </a:p>
          <a:p>
            <a:pPr marL="182563" indent="-182563">
              <a:spcBef>
                <a:spcPct val="20000"/>
              </a:spcBef>
              <a:spcAft>
                <a:spcPts val="300"/>
              </a:spcAft>
              <a:buClr>
                <a:schemeClr val="accent2"/>
              </a:buClr>
              <a:buFont typeface="TheSans Swisscom" pitchFamily="34" charset="0"/>
              <a:buChar char="&gt;"/>
            </a:pPr>
            <a:r>
              <a:rPr lang="en-US" dirty="0"/>
              <a:t>Netconf transaction ID support has been missed 3 time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E7BCBC-20EB-AFE8-3029-6CE4355F25D4}"/>
              </a:ext>
            </a:extLst>
          </p:cNvPr>
          <p:cNvSpPr txBox="1"/>
          <p:nvPr/>
        </p:nvSpPr>
        <p:spPr bwMode="gray">
          <a:xfrm>
            <a:off x="3172967" y="5340788"/>
            <a:ext cx="266664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chemeClr val="tx1"/>
                </a:solidFill>
              </a:rPr>
              <a:t>3</a:t>
            </a:r>
          </a:p>
          <a:p>
            <a:pPr algn="r"/>
            <a:r>
              <a:rPr lang="en-US" dirty="0"/>
              <a:t>Network Team backlo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3CBA1E-FBB7-459D-4117-B55C5AB2E32D}"/>
              </a:ext>
            </a:extLst>
          </p:cNvPr>
          <p:cNvSpPr txBox="1"/>
          <p:nvPr/>
        </p:nvSpPr>
        <p:spPr bwMode="gray">
          <a:xfrm>
            <a:off x="5379088" y="5041023"/>
            <a:ext cx="243050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000" b="1" dirty="0">
                <a:solidFill>
                  <a:schemeClr val="tx1"/>
                </a:solidFill>
              </a:rPr>
              <a:t>3</a:t>
            </a:r>
          </a:p>
          <a:p>
            <a:pPr algn="r"/>
            <a:r>
              <a:rPr lang="en-US" dirty="0"/>
              <a:t>Daisy </a:t>
            </a:r>
            <a:br>
              <a:rPr lang="en-US" dirty="0"/>
            </a:br>
            <a:r>
              <a:rPr lang="en-US" dirty="0"/>
              <a:t>Team backlog</a:t>
            </a:r>
          </a:p>
        </p:txBody>
      </p:sp>
      <p:cxnSp>
        <p:nvCxnSpPr>
          <p:cNvPr id="9" name="Gerade Verbindung 41">
            <a:extLst>
              <a:ext uri="{FF2B5EF4-FFF2-40B4-BE49-F238E27FC236}">
                <a16:creationId xmlns:a16="http://schemas.microsoft.com/office/drawing/2014/main" id="{1159031F-73EA-F13E-489B-1D5597AC381D}"/>
              </a:ext>
            </a:extLst>
          </p:cNvPr>
          <p:cNvCxnSpPr>
            <a:cxnSpLocks/>
          </p:cNvCxnSpPr>
          <p:nvPr/>
        </p:nvCxnSpPr>
        <p:spPr bwMode="gray">
          <a:xfrm>
            <a:off x="4315968" y="5340788"/>
            <a:ext cx="152364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2BC0BAD6-DCEA-9157-CC44-296ABF9EB345}"/>
              </a:ext>
            </a:extLst>
          </p:cNvPr>
          <p:cNvSpPr/>
          <p:nvPr/>
        </p:nvSpPr>
        <p:spPr bwMode="gray">
          <a:xfrm>
            <a:off x="5839611" y="1976846"/>
            <a:ext cx="1935501" cy="1724988"/>
          </a:xfrm>
          <a:prstGeom prst="ellipse">
            <a:avLst/>
          </a:prstGeom>
          <a:solidFill>
            <a:srgbClr val="FF0000">
              <a:alpha val="1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CH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80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09802C0-BFFB-9B0F-A529-E60CDD51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400" b="1" dirty="0"/>
              <a:t>Monitoring L3 VPN's with IPFIX, BMP and YANG Push</a:t>
            </a:r>
            <a:br>
              <a:rPr lang="en-GB" sz="2400" dirty="0"/>
            </a:br>
            <a:r>
              <a:rPr lang="en-US" sz="2400" dirty="0">
                <a:solidFill>
                  <a:schemeClr val="bg2">
                    <a:lumMod val="75000"/>
                  </a:schemeClr>
                </a:solidFill>
              </a:rPr>
              <a:t>From Connectivity Service to Realtime Network Analytics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7FEC644C-5BBA-9D8A-F77B-29E3C855E4BF}"/>
              </a:ext>
            </a:extLst>
          </p:cNvPr>
          <p:cNvSpPr txBox="1">
            <a:spLocks/>
          </p:cNvSpPr>
          <p:nvPr/>
        </p:nvSpPr>
        <p:spPr bwMode="black">
          <a:xfrm>
            <a:off x="5903843" y="1742858"/>
            <a:ext cx="5684049" cy="4788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lang="en-US" b="1" dirty="0">
                <a:solidFill>
                  <a:srgbClr val="FF0000"/>
                </a:solidFill>
                <a:latin typeface="TheSans Swisscom Light"/>
              </a:rPr>
              <a:t>Connectivity Servic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nection Points are connected through Logical Connections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BGP control-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Pv4/6 unicast prefixes in VRF's are tagged with BGP standard communities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ne BGP standard community to identify the Logical Connection. One BGP standard community to identify each Connection Point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prefixes are exported from VRF's, a BGP route-distinguisher, BGP extended community route-targets and a SRv6 VPN SID for the IPv6 next-hop </a:t>
            </a:r>
            <a:r>
              <a:rPr lang="en-US" dirty="0">
                <a:latin typeface="TheSans Swisscom Light"/>
              </a:rPr>
              <a:t>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 allocated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forwarding 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unicast traffic is received from the edge at the SRv6 PE, a lookup is performed, the SRv6 VPN SID is obtained and IPv6 next-hop is added when forwarded to the core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collects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MPLS and SRv6 provider data plane, IPv4/6 unicast customer data-plane in IPFIX and at provider edge BGP VPNv4/6 unicas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production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to perform real-time data correlation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C2E1AF7-54F3-0ED4-A99D-8EDF19642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4" y="1695129"/>
            <a:ext cx="4710952" cy="488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69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FEC304D5-AF3F-B088-CA0F-D211561539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352" y="1280166"/>
            <a:ext cx="7217199" cy="46589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864" y="332656"/>
            <a:ext cx="7775871" cy="720000"/>
          </a:xfrm>
        </p:spPr>
        <p:txBody>
          <a:bodyPr>
            <a:normAutofit fontScale="90000"/>
          </a:bodyPr>
          <a:lstStyle/>
          <a:p>
            <a:r>
              <a:rPr lang="en-US" sz="2700" b="1" dirty="0"/>
              <a:t>SRv6 Resilience Analysis &amp; Tests in Production</a:t>
            </a:r>
            <a:br>
              <a:rPr lang="en-US" sz="21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SRv6 Blackholing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00CBF14-04EF-4232-9E86-69C8CB496988}"/>
              </a:ext>
            </a:extLst>
          </p:cNvPr>
          <p:cNvSpPr txBox="1">
            <a:spLocks/>
          </p:cNvSpPr>
          <p:nvPr/>
        </p:nvSpPr>
        <p:spPr bwMode="black">
          <a:xfrm>
            <a:off x="8512356" y="658660"/>
            <a:ext cx="3039581" cy="505105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Between 02:05-08 AM, use case 1, </a:t>
            </a:r>
            <a:r>
              <a:rPr lang="en-US" sz="1100" dirty="0"/>
              <a:t>physical links on ipt-zhb790-a-des-01 Bundle-Ether10011 (</a:t>
            </a:r>
            <a:r>
              <a:rPr lang="en-US" sz="1100" b="1" dirty="0"/>
              <a:t>CE facing interface</a:t>
            </a:r>
            <a:r>
              <a:rPr lang="en-US" sz="1100" dirty="0"/>
              <a:t> to TC-GW Inter-AS Option A) had been disconnected.  Interface and BGP peering state changes, BGP topology changes and interface traffic shift were observed </a:t>
            </a:r>
            <a:r>
              <a:rPr lang="en-US" sz="1100" b="1" dirty="0"/>
              <a:t>and not alerted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Between 02:56-59 AM, use case 2, </a:t>
            </a:r>
            <a:r>
              <a:rPr lang="en-US" sz="1100" dirty="0"/>
              <a:t>physical links on ipt-zhb790-a-des-01 Bundle-Ether10031 (</a:t>
            </a:r>
            <a:r>
              <a:rPr lang="en-US" sz="1100" b="1" dirty="0"/>
              <a:t>CE facing interface </a:t>
            </a:r>
            <a:r>
              <a:rPr lang="en-US" sz="1100" dirty="0"/>
              <a:t>to MV-GW Inter-AS Option A) had been disconnected.  Interface and BGP peering state changes, BGP topology changes and interface traffic shift were observed </a:t>
            </a:r>
            <a:r>
              <a:rPr lang="en-US" sz="1100" b="1" dirty="0"/>
              <a:t>and not alerted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Between 03.17-24 AM, use case 3, </a:t>
            </a:r>
            <a:r>
              <a:rPr lang="en-US" sz="1100" dirty="0"/>
              <a:t>physical links on ipt-zhb790-a-des-02 Bundle-Ether2000 and Bundle-Ether2100 (</a:t>
            </a:r>
            <a:r>
              <a:rPr lang="en-US" sz="1100" b="1" dirty="0"/>
              <a:t>P ABR facing</a:t>
            </a:r>
            <a:r>
              <a:rPr lang="en-US" sz="1100" dirty="0"/>
              <a:t>) had been disconnected.  Interface state changes, BGP topology changes and interface traffic shift were observed </a:t>
            </a:r>
            <a:r>
              <a:rPr lang="en-US" sz="1100" b="1" dirty="0"/>
              <a:t>and alerted</a:t>
            </a:r>
            <a:r>
              <a:rPr lang="en-US" sz="1100" dirty="0"/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Between 04:22-30 AM, use case 4, BGP process was terminated and restarted </a:t>
            </a:r>
            <a:r>
              <a:rPr lang="en-US" sz="1100" dirty="0"/>
              <a:t>at ipt-zhb790-a-des-02 (</a:t>
            </a:r>
            <a:r>
              <a:rPr lang="en-US" sz="1100" b="1" dirty="0"/>
              <a:t>PE node </a:t>
            </a:r>
            <a:r>
              <a:rPr lang="en-US" sz="1100" dirty="0"/>
              <a:t>Inter-AS Option A to SMEN) had been disconnected. BGP peering state changes, BGP topology changes and interface traffic shift were observed </a:t>
            </a:r>
            <a:r>
              <a:rPr lang="en-US" sz="1100" b="1" dirty="0"/>
              <a:t>and alerted</a:t>
            </a:r>
            <a:r>
              <a:rPr lang="en-US" sz="1100" dirty="0"/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Between 04:53-57 AM, use case 5, IS-IS process was terminated and restarted </a:t>
            </a:r>
            <a:r>
              <a:rPr lang="en-US" sz="1100" dirty="0"/>
              <a:t>at ipt-zhb790-a-des-02 (</a:t>
            </a:r>
            <a:r>
              <a:rPr lang="en-US" sz="1100" b="1" dirty="0"/>
              <a:t>PE node </a:t>
            </a:r>
            <a:r>
              <a:rPr lang="en-US" sz="1100" dirty="0"/>
              <a:t>Inter-AS Option A to SMEN) had been disconnected. BGP topology changes, traffic drop and interface traffic shift were observed </a:t>
            </a:r>
            <a:r>
              <a:rPr lang="en-US" sz="1100" b="1" dirty="0"/>
              <a:t>and alerted</a:t>
            </a:r>
            <a:r>
              <a:rPr lang="en-US" sz="1100" dirty="0"/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2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501352" y="6093336"/>
            <a:ext cx="71655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monitoring 34 L3 VPN's in real-time during maintenance window – </a:t>
            </a:r>
            <a:r>
              <a:rPr lang="en-US" sz="1200" b="1" dirty="0">
                <a:hlinkClick r:id="rId4"/>
              </a:rPr>
              <a:t>Pivot Link</a:t>
            </a:r>
            <a:endParaRPr lang="en-US" sz="1200" b="1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7E66736-C5E9-2C83-DF64-1A2A72348EFD}"/>
              </a:ext>
            </a:extLst>
          </p:cNvPr>
          <p:cNvCxnSpPr>
            <a:cxnSpLocks/>
          </p:cNvCxnSpPr>
          <p:nvPr/>
        </p:nvCxnSpPr>
        <p:spPr bwMode="gray">
          <a:xfrm>
            <a:off x="8195795" y="1051500"/>
            <a:ext cx="1815" cy="908512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>
            <a:extLst>
              <a:ext uri="{FF2B5EF4-FFF2-40B4-BE49-F238E27FC236}">
                <a16:creationId xmlns:a16="http://schemas.microsoft.com/office/drawing/2014/main" id="{902489DE-F809-4491-97BA-957BEDA6A2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97788" y="608260"/>
            <a:ext cx="410400" cy="4104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0580A8B-28DF-F68A-4521-8B988C8B63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92991" y="1992852"/>
            <a:ext cx="410400" cy="4104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D646E988-68A8-CB20-5EAC-4DA2EC226D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92410" y="3344604"/>
            <a:ext cx="410400" cy="4104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96C070A-F164-2366-224C-5FEA44BCD8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92410" y="4560073"/>
            <a:ext cx="410400" cy="410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7CD42FD2-A68F-ED7C-DC24-009016DCCD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92410" y="5713721"/>
            <a:ext cx="410400" cy="41040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4ED4110-61C6-2E33-CE19-E8D5D2FF2C35}"/>
              </a:ext>
            </a:extLst>
          </p:cNvPr>
          <p:cNvCxnSpPr>
            <a:cxnSpLocks/>
          </p:cNvCxnSpPr>
          <p:nvPr/>
        </p:nvCxnSpPr>
        <p:spPr bwMode="gray">
          <a:xfrm>
            <a:off x="8193980" y="2423730"/>
            <a:ext cx="1815" cy="908512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FEBFC9-F225-22C8-7D19-6C6FCDF225BE}"/>
              </a:ext>
            </a:extLst>
          </p:cNvPr>
          <p:cNvCxnSpPr>
            <a:cxnSpLocks/>
          </p:cNvCxnSpPr>
          <p:nvPr/>
        </p:nvCxnSpPr>
        <p:spPr bwMode="gray">
          <a:xfrm>
            <a:off x="8203379" y="3757304"/>
            <a:ext cx="0" cy="740948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DA4D6CF-E79B-C37D-F2A5-B7877A3544CF}"/>
              </a:ext>
            </a:extLst>
          </p:cNvPr>
          <p:cNvCxnSpPr>
            <a:cxnSpLocks/>
          </p:cNvCxnSpPr>
          <p:nvPr/>
        </p:nvCxnSpPr>
        <p:spPr bwMode="gray">
          <a:xfrm>
            <a:off x="8202988" y="4968769"/>
            <a:ext cx="0" cy="740948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2F88CC7-021B-ABD5-8D95-FEC06427FD54}"/>
              </a:ext>
            </a:extLst>
          </p:cNvPr>
          <p:cNvCxnSpPr>
            <a:cxnSpLocks/>
          </p:cNvCxnSpPr>
          <p:nvPr/>
        </p:nvCxnSpPr>
        <p:spPr bwMode="gray">
          <a:xfrm>
            <a:off x="1395956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E145776-6510-B0D1-8159-4D99C6E805C3}"/>
              </a:ext>
            </a:extLst>
          </p:cNvPr>
          <p:cNvCxnSpPr>
            <a:cxnSpLocks/>
          </p:cNvCxnSpPr>
          <p:nvPr/>
        </p:nvCxnSpPr>
        <p:spPr bwMode="gray">
          <a:xfrm>
            <a:off x="2176508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D42E861-B3E1-0BAD-327E-6F258E2F1C86}"/>
              </a:ext>
            </a:extLst>
          </p:cNvPr>
          <p:cNvCxnSpPr>
            <a:cxnSpLocks/>
          </p:cNvCxnSpPr>
          <p:nvPr/>
        </p:nvCxnSpPr>
        <p:spPr bwMode="gray">
          <a:xfrm>
            <a:off x="2970314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E49DF31-176D-1F83-9989-07A9535FC3DC}"/>
              </a:ext>
            </a:extLst>
          </p:cNvPr>
          <p:cNvCxnSpPr>
            <a:cxnSpLocks/>
          </p:cNvCxnSpPr>
          <p:nvPr/>
        </p:nvCxnSpPr>
        <p:spPr bwMode="gray">
          <a:xfrm>
            <a:off x="4409500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B3F42CE-9BA9-1282-51C6-431803B395A4}"/>
              </a:ext>
            </a:extLst>
          </p:cNvPr>
          <p:cNvCxnSpPr>
            <a:cxnSpLocks/>
          </p:cNvCxnSpPr>
          <p:nvPr/>
        </p:nvCxnSpPr>
        <p:spPr bwMode="gray">
          <a:xfrm>
            <a:off x="5196678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460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FEC304D5-AF3F-B088-CA0F-D211561539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352" y="1280166"/>
            <a:ext cx="7217199" cy="46589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00CBF14-04EF-4232-9E86-69C8CB496988}"/>
              </a:ext>
            </a:extLst>
          </p:cNvPr>
          <p:cNvSpPr txBox="1">
            <a:spLocks/>
          </p:cNvSpPr>
          <p:nvPr/>
        </p:nvSpPr>
        <p:spPr bwMode="black">
          <a:xfrm>
            <a:off x="8577291" y="1280166"/>
            <a:ext cx="3039581" cy="41035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At 05:17 AM, use case 6, RSP failover </a:t>
            </a:r>
            <a:r>
              <a:rPr lang="en-US" sz="1100" dirty="0"/>
              <a:t>at ipt-zhb790-a-des-02 (</a:t>
            </a:r>
            <a:r>
              <a:rPr lang="en-US" sz="1100" b="1" dirty="0"/>
              <a:t>PE node </a:t>
            </a:r>
            <a:r>
              <a:rPr lang="en-US" sz="1100" dirty="0"/>
              <a:t>Inter-AS Option A to SMEN) was been performed. </a:t>
            </a:r>
            <a:r>
              <a:rPr lang="en-US" sz="1100" b="1" dirty="0">
                <a:solidFill>
                  <a:srgbClr val="FF0000"/>
                </a:solidFill>
              </a:rPr>
              <a:t>Missing traffic and NPU "IPv6 next-hop index invalid transmit adjacency" drops were observed</a:t>
            </a:r>
            <a:r>
              <a:rPr lang="en-US" sz="1100" dirty="0"/>
              <a:t> </a:t>
            </a:r>
            <a:r>
              <a:rPr lang="en-US" sz="1100" b="1" dirty="0"/>
              <a:t>and alerted</a:t>
            </a:r>
            <a:r>
              <a:rPr lang="en-US" sz="1100" dirty="0"/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At 05:43 and 05:47 AM, </a:t>
            </a:r>
            <a:r>
              <a:rPr lang="en-US" sz="1100" dirty="0"/>
              <a:t>BGP </a:t>
            </a:r>
            <a:r>
              <a:rPr lang="en-US" sz="1100" dirty="0" err="1"/>
              <a:t>peerings</a:t>
            </a:r>
            <a:r>
              <a:rPr lang="en-US" sz="1100" dirty="0"/>
              <a:t> at pt-zhb790-a-des-02 (</a:t>
            </a:r>
            <a:r>
              <a:rPr lang="en-US" sz="1100" b="1" dirty="0"/>
              <a:t>PE node </a:t>
            </a:r>
            <a:r>
              <a:rPr lang="en-US" sz="1100" dirty="0"/>
              <a:t>Inter-AS Option A to SMEN)  were being reset to update BGP routing tables. Along BGP peering state and topology changes, Missing traffic and NPU "IPv6 next-hop index invalid transmit adjacency" drops </a:t>
            </a:r>
            <a:r>
              <a:rPr lang="en-US" sz="1100" b="1" dirty="0">
                <a:solidFill>
                  <a:srgbClr val="FF0000"/>
                </a:solidFill>
              </a:rPr>
              <a:t>were still unchanged observed </a:t>
            </a:r>
            <a:r>
              <a:rPr lang="en-US" sz="1100" b="1" dirty="0"/>
              <a:t>and alerted</a:t>
            </a:r>
            <a:r>
              <a:rPr lang="en-US" sz="1100" dirty="0"/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b="1" dirty="0"/>
              <a:t>At 06:00 AM, </a:t>
            </a:r>
            <a:r>
              <a:rPr lang="en-US" sz="1100" dirty="0"/>
              <a:t>ipt-zhb790-a-des-02 Bundle-Ether2000 and Bundle-Ether2100 (</a:t>
            </a:r>
            <a:r>
              <a:rPr lang="en-US" sz="1100" b="1" dirty="0"/>
              <a:t>P ABR facing</a:t>
            </a:r>
            <a:r>
              <a:rPr lang="en-US" sz="1100" dirty="0"/>
              <a:t>) were being shutdown. Missing traffic and NPU "IPv6 next-hop index invalid transmit adjacency" </a:t>
            </a:r>
            <a:r>
              <a:rPr lang="en-US" sz="1100" b="1" dirty="0">
                <a:solidFill>
                  <a:srgbClr val="FF0000"/>
                </a:solidFill>
              </a:rPr>
              <a:t>drops were no longer observed and traffic shifted to redundant </a:t>
            </a:r>
            <a:r>
              <a:rPr lang="de-CH" sz="1050" b="1" dirty="0">
                <a:solidFill>
                  <a:srgbClr val="FF0000"/>
                </a:solidFill>
              </a:rPr>
              <a:t>ipt-zhh790-b-des-02</a:t>
            </a:r>
            <a:r>
              <a:rPr lang="en-US" sz="1100" b="1" dirty="0">
                <a:solidFill>
                  <a:srgbClr val="FF0000"/>
                </a:solidFill>
              </a:rPr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100" dirty="0"/>
              <a:t>At 06:54 AM, Cisco TAC SR 698355511 case has been opened to investigate traffic blackholing after RSP fail back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rgbClr val="FF0000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100" b="1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2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501352" y="6093336"/>
            <a:ext cx="71655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monitoring 34x L3 VPN's in real-time during maintenance window – </a:t>
            </a:r>
            <a:r>
              <a:rPr lang="en-US" sz="1200" b="1" dirty="0">
                <a:hlinkClick r:id="rId4"/>
              </a:rPr>
              <a:t>Pivot Link</a:t>
            </a:r>
            <a:endParaRPr lang="en-US" sz="1200" b="1" dirty="0"/>
          </a:p>
        </p:txBody>
      </p:sp>
      <p:pic>
        <p:nvPicPr>
          <p:cNvPr id="49" name="Grafik 8">
            <a:extLst>
              <a:ext uri="{FF2B5EF4-FFF2-40B4-BE49-F238E27FC236}">
                <a16:creationId xmlns:a16="http://schemas.microsoft.com/office/drawing/2014/main" id="{EF6B390E-5877-9297-712A-9BE3172861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4379" y="3640132"/>
            <a:ext cx="409069" cy="40906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04586A3-D638-9D3A-739F-52AD87B0AB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96323" y="1257856"/>
            <a:ext cx="525183" cy="52518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0580A8B-28DF-F68A-4521-8B988C8B63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53048" y="2238935"/>
            <a:ext cx="410400" cy="41040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FEBFC9-F225-22C8-7D19-6C6FCDF225BE}"/>
              </a:ext>
            </a:extLst>
          </p:cNvPr>
          <p:cNvCxnSpPr>
            <a:cxnSpLocks/>
          </p:cNvCxnSpPr>
          <p:nvPr/>
        </p:nvCxnSpPr>
        <p:spPr bwMode="gray">
          <a:xfrm>
            <a:off x="8252052" y="1824356"/>
            <a:ext cx="6196" cy="414579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DA4D6CF-E79B-C37D-F2A5-B7877A3544CF}"/>
              </a:ext>
            </a:extLst>
          </p:cNvPr>
          <p:cNvCxnSpPr>
            <a:cxnSpLocks/>
          </p:cNvCxnSpPr>
          <p:nvPr/>
        </p:nvCxnSpPr>
        <p:spPr bwMode="gray">
          <a:xfrm>
            <a:off x="8258248" y="2688052"/>
            <a:ext cx="0" cy="858230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2F88CC7-021B-ABD5-8D95-FEC06427FD54}"/>
              </a:ext>
            </a:extLst>
          </p:cNvPr>
          <p:cNvCxnSpPr>
            <a:cxnSpLocks/>
          </p:cNvCxnSpPr>
          <p:nvPr/>
        </p:nvCxnSpPr>
        <p:spPr bwMode="gray">
          <a:xfrm>
            <a:off x="6596109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297CF0B-E419-4A63-E3CF-6FC3702B37FF}"/>
              </a:ext>
            </a:extLst>
          </p:cNvPr>
          <p:cNvCxnSpPr>
            <a:cxnSpLocks/>
          </p:cNvCxnSpPr>
          <p:nvPr/>
        </p:nvCxnSpPr>
        <p:spPr bwMode="gray">
          <a:xfrm>
            <a:off x="5737368" y="1789043"/>
            <a:ext cx="0" cy="3920674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7">
            <a:extLst>
              <a:ext uri="{FF2B5EF4-FFF2-40B4-BE49-F238E27FC236}">
                <a16:creationId xmlns:a16="http://schemas.microsoft.com/office/drawing/2014/main" id="{B9468A29-8494-AFBE-CB4F-D5F327A4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864" y="332656"/>
            <a:ext cx="7775871" cy="720000"/>
          </a:xfrm>
        </p:spPr>
        <p:txBody>
          <a:bodyPr>
            <a:normAutofit fontScale="90000"/>
          </a:bodyPr>
          <a:lstStyle/>
          <a:p>
            <a:r>
              <a:rPr lang="en-US" sz="2700" b="1" dirty="0"/>
              <a:t>SRv6 Resilience Analysis &amp; Tests in Production</a:t>
            </a:r>
            <a:br>
              <a:rPr lang="en-US" sz="21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SRv6 Blackholing</a:t>
            </a:r>
          </a:p>
        </p:txBody>
      </p:sp>
    </p:spTree>
    <p:extLst>
      <p:ext uri="{BB962C8B-B14F-4D97-AF65-F5344CB8AC3E}">
        <p14:creationId xmlns:p14="http://schemas.microsoft.com/office/powerpoint/2010/main" val="1379773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FD23A5-CE0B-0FA2-D7CA-862B39D742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1724025"/>
            <a:ext cx="2680558" cy="37623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D4ABDD-75AA-CC65-3722-DA2DE2BD34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8698" y="1724024"/>
            <a:ext cx="2452068" cy="37623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2664E7C-2FE3-FC41-7CB7-86DD5B939B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8130" y="1724025"/>
            <a:ext cx="5292303" cy="37623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1188D6C-01F5-3CCC-C85B-90F51107349E}"/>
              </a:ext>
            </a:extLst>
          </p:cNvPr>
          <p:cNvSpPr/>
          <p:nvPr/>
        </p:nvSpPr>
        <p:spPr>
          <a:xfrm>
            <a:off x="623392" y="5677279"/>
            <a:ext cx="26805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Use Case 1, </a:t>
            </a:r>
            <a:r>
              <a:rPr lang="en-US" sz="1200" b="1" dirty="0">
                <a:solidFill>
                  <a:srgbClr val="FF0000"/>
                </a:solidFill>
              </a:rPr>
              <a:t>Edge Facing 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Link State Chang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883651-F9ED-251F-A321-8D15FDCBAA9E}"/>
              </a:ext>
            </a:extLst>
          </p:cNvPr>
          <p:cNvSpPr/>
          <p:nvPr/>
        </p:nvSpPr>
        <p:spPr>
          <a:xfrm>
            <a:off x="3798698" y="5677278"/>
            <a:ext cx="24855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Use Case 2, </a:t>
            </a:r>
            <a:r>
              <a:rPr lang="en-US" sz="1200" b="1" dirty="0">
                <a:solidFill>
                  <a:srgbClr val="FF0000"/>
                </a:solidFill>
              </a:rPr>
              <a:t>Edge Facing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Link State Chan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8C24EA-A67E-A0D0-3E47-A8249FE4A4A5}"/>
              </a:ext>
            </a:extLst>
          </p:cNvPr>
          <p:cNvSpPr/>
          <p:nvPr/>
        </p:nvSpPr>
        <p:spPr>
          <a:xfrm>
            <a:off x="6618129" y="5677278"/>
            <a:ext cx="52923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Use Case 3, </a:t>
            </a:r>
            <a:r>
              <a:rPr lang="en-US" sz="1200" b="1" dirty="0">
                <a:solidFill>
                  <a:srgbClr val="FF0000"/>
                </a:solidFill>
              </a:rPr>
              <a:t>Core Facing Link State Change</a:t>
            </a:r>
            <a:br>
              <a:rPr lang="en-US" sz="1200" b="1" dirty="0"/>
            </a:br>
            <a:r>
              <a:rPr lang="en-US" sz="1200" b="1" dirty="0"/>
              <a:t>Use Case 4, </a:t>
            </a:r>
            <a:r>
              <a:rPr lang="en-US" sz="1200" b="1" dirty="0">
                <a:solidFill>
                  <a:srgbClr val="FF0000"/>
                </a:solidFill>
              </a:rPr>
              <a:t>BGP Process Restart</a:t>
            </a:r>
            <a:br>
              <a:rPr lang="en-US" sz="1200" b="1" dirty="0"/>
            </a:br>
            <a:r>
              <a:rPr lang="en-US" sz="1200" b="1" dirty="0"/>
              <a:t>Use Case 5, </a:t>
            </a:r>
            <a:r>
              <a:rPr lang="en-US" sz="1200" b="1" dirty="0">
                <a:solidFill>
                  <a:srgbClr val="FF0000"/>
                </a:solidFill>
              </a:rPr>
              <a:t>IS-IS Process Restart</a:t>
            </a:r>
            <a:br>
              <a:rPr lang="en-US" sz="1200" b="1" dirty="0"/>
            </a:br>
            <a:r>
              <a:rPr lang="en-US" sz="1200" b="1" dirty="0"/>
              <a:t>Use Case 6, </a:t>
            </a:r>
            <a:r>
              <a:rPr lang="en-US" sz="1200" b="1" dirty="0">
                <a:solidFill>
                  <a:srgbClr val="FF0000"/>
                </a:solidFill>
              </a:rPr>
              <a:t>RSP Failo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B34160-761B-DE9F-E695-11A67ECD1875}"/>
              </a:ext>
            </a:extLst>
          </p:cNvPr>
          <p:cNvSpPr/>
          <p:nvPr/>
        </p:nvSpPr>
        <p:spPr bwMode="gray">
          <a:xfrm>
            <a:off x="1614421" y="2337865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69A11C9-E9AB-DBB6-A32F-7CB9705AF201}"/>
              </a:ext>
            </a:extLst>
          </p:cNvPr>
          <p:cNvSpPr/>
          <p:nvPr/>
        </p:nvSpPr>
        <p:spPr bwMode="gray">
          <a:xfrm>
            <a:off x="4042500" y="2322523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B262BD7-CF1C-BEF8-AD4E-B06C620AE630}"/>
              </a:ext>
            </a:extLst>
          </p:cNvPr>
          <p:cNvSpPr/>
          <p:nvPr/>
        </p:nvSpPr>
        <p:spPr bwMode="gray">
          <a:xfrm>
            <a:off x="7881871" y="2439466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4AC4568-D9DF-6E72-01FA-E6D6352810A0}"/>
              </a:ext>
            </a:extLst>
          </p:cNvPr>
          <p:cNvSpPr/>
          <p:nvPr/>
        </p:nvSpPr>
        <p:spPr bwMode="gray">
          <a:xfrm>
            <a:off x="7068904" y="2818011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8B9A38A-5581-C6D7-34C5-989930560C27}"/>
              </a:ext>
            </a:extLst>
          </p:cNvPr>
          <p:cNvSpPr/>
          <p:nvPr/>
        </p:nvSpPr>
        <p:spPr bwMode="gray">
          <a:xfrm>
            <a:off x="7068904" y="3125832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5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336B9C4-FD6B-DE8A-3EA4-0A57D7FC9EF7}"/>
              </a:ext>
            </a:extLst>
          </p:cNvPr>
          <p:cNvSpPr/>
          <p:nvPr/>
        </p:nvSpPr>
        <p:spPr bwMode="gray">
          <a:xfrm>
            <a:off x="6816425" y="2971922"/>
            <a:ext cx="252479" cy="233886"/>
          </a:xfrm>
          <a:prstGeom prst="ellipse">
            <a:avLst/>
          </a:prstGeom>
          <a:solidFill>
            <a:srgbClr val="FF0000">
              <a:alpha val="20000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de-CH" sz="1600" dirty="0">
                <a:solidFill>
                  <a:srgbClr val="FF0000"/>
                </a:solidFill>
              </a:rPr>
              <a:t>6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BD09272-BFE1-CA0B-10DD-7F52B246F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864" y="332656"/>
            <a:ext cx="7775871" cy="720000"/>
          </a:xfrm>
        </p:spPr>
        <p:txBody>
          <a:bodyPr>
            <a:normAutofit fontScale="90000"/>
          </a:bodyPr>
          <a:lstStyle/>
          <a:p>
            <a:r>
              <a:rPr lang="en-US" sz="2700" b="1" dirty="0"/>
              <a:t>SRv6 Resilience Analysis &amp; Tests in Production</a:t>
            </a:r>
            <a:br>
              <a:rPr lang="en-US" sz="21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L1-3 Topology</a:t>
            </a:r>
          </a:p>
        </p:txBody>
      </p:sp>
    </p:spTree>
    <p:extLst>
      <p:ext uri="{BB962C8B-B14F-4D97-AF65-F5344CB8AC3E}">
        <p14:creationId xmlns:p14="http://schemas.microsoft.com/office/powerpoint/2010/main" val="2683737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Operational Network Telemetry forwarding plane, YANG-Push, IPFIX, BMP and BGP measured control plane metrics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675515" y="1351892"/>
            <a:ext cx="197172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</a:t>
            </a:r>
            <a:r>
              <a:rPr lang="en-US" sz="1350" b="1" dirty="0">
                <a:solidFill>
                  <a:srgbClr val="FF0000"/>
                </a:solidFill>
              </a:rPr>
              <a:t>BGP topology change </a:t>
            </a:r>
            <a:r>
              <a:rPr lang="en-US" sz="1350" b="1" dirty="0"/>
              <a:t>and no traffic volume change. </a:t>
            </a:r>
            <a:r>
              <a:rPr lang="en-US" sz="1350" b="1" dirty="0">
                <a:solidFill>
                  <a:srgbClr val="92D050"/>
                </a:solidFill>
              </a:rPr>
              <a:t>Measured with IPFIX and Correlated with BMP Local RIB.</a:t>
            </a:r>
            <a:endParaRPr lang="de-CH" sz="1350" dirty="0">
              <a:solidFill>
                <a:srgbClr val="92D05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</a:t>
            </a:r>
            <a:r>
              <a:rPr lang="en-US" sz="1350" b="1" dirty="0">
                <a:solidFill>
                  <a:srgbClr val="FF0000"/>
                </a:solidFill>
              </a:rPr>
              <a:t>flow count </a:t>
            </a:r>
            <a:r>
              <a:rPr lang="en-US" sz="1350" b="1" dirty="0"/>
              <a:t>spike due to BGP topology change. </a:t>
            </a:r>
            <a:r>
              <a:rPr lang="en-US" sz="1350" b="1" dirty="0">
                <a:solidFill>
                  <a:srgbClr val="92D050"/>
                </a:solidFill>
              </a:rPr>
              <a:t>Measured with IPFIX and Correlated with BMP Local RIB.</a:t>
            </a:r>
            <a:endParaRPr lang="de-CH" sz="1350" dirty="0">
              <a:solidFill>
                <a:srgbClr val="92D050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9CD2454-0144-477D-A28F-1580B6ED4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2516" y="1126698"/>
            <a:ext cx="6383665" cy="35543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13CBF6-A9ED-9D81-4DA5-A437D5A0CB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516" y="4709258"/>
            <a:ext cx="6383665" cy="16766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hows </a:t>
            </a:r>
            <a:r>
              <a:rPr lang="en-US" sz="1350" b="1" dirty="0">
                <a:solidFill>
                  <a:srgbClr val="FF0000"/>
                </a:solidFill>
              </a:rPr>
              <a:t>traffic shift </a:t>
            </a:r>
            <a:r>
              <a:rPr lang="en-US" sz="1350" b="1" dirty="0"/>
              <a:t>among Inter-AS Option A ASBR's. </a:t>
            </a:r>
            <a:r>
              <a:rPr lang="en-US" sz="1350" b="1" dirty="0">
                <a:solidFill>
                  <a:srgbClr val="92D050"/>
                </a:solidFill>
              </a:rPr>
              <a:t>Measured with YANG-Push </a:t>
            </a:r>
            <a:r>
              <a:rPr lang="en-US" sz="1350" b="1" dirty="0" err="1">
                <a:solidFill>
                  <a:srgbClr val="92D050"/>
                </a:solidFill>
              </a:rPr>
              <a:t>openconfig-interface.yang</a:t>
            </a:r>
            <a:r>
              <a:rPr lang="en-US" sz="1350" b="1" dirty="0">
                <a:solidFill>
                  <a:srgbClr val="92D050"/>
                </a:solidFill>
              </a:rPr>
              <a:t>.</a:t>
            </a:r>
            <a:endParaRPr lang="de-CH" sz="1350" dirty="0">
              <a:solidFill>
                <a:srgbClr val="92D05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7">
            <a:extLst>
              <a:ext uri="{FF2B5EF4-FFF2-40B4-BE49-F238E27FC236}">
                <a16:creationId xmlns:a16="http://schemas.microsoft.com/office/drawing/2014/main" id="{50E64B29-D86A-706C-9B62-6DDE4BB57B0A}"/>
              </a:ext>
            </a:extLst>
          </p:cNvPr>
          <p:cNvSpPr txBox="1">
            <a:spLocks/>
          </p:cNvSpPr>
          <p:nvPr/>
        </p:nvSpPr>
        <p:spPr bwMode="black">
          <a:xfrm>
            <a:off x="1198120" y="332656"/>
            <a:ext cx="1099388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November 28th, SRv6 Resilience Analysis &amp; Tests in Production</a:t>
            </a:r>
            <a:br>
              <a:rPr lang="en-US" sz="2200" dirty="0"/>
            </a:b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Use Case 1 – Inter-AS Option A Interface State Change – </a:t>
            </a:r>
            <a:r>
              <a:rPr lang="en-US" sz="2100" b="0" dirty="0">
                <a:solidFill>
                  <a:srgbClr val="FF0000"/>
                </a:solidFill>
              </a:rPr>
              <a:t>Real-Time</a:t>
            </a:r>
            <a:r>
              <a:rPr lang="en-US" sz="2100" b="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  <a:endParaRPr lang="en-US" sz="2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247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DBF1299-3B4F-6568-2433-1834187DBD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635" y="1309677"/>
            <a:ext cx="6266758" cy="493182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716912"/>
            <a:ext cx="2802335" cy="49690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BMP route-monitoring Update/Withdraw check did not recognize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BMP peer Down/Up check recognized BGP peering state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Interface Down/Up check recognized Interface state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dirty="0"/>
              <a:t>Traffic Drop spike recognized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Missing Traffic check recognized long term traffic loss on 64498:2949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Increased or decreased Flow Count check did recognize flow spike decrease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200" b="1" dirty="0"/>
              <a:t>Overall: 4 out of 6 checks have detected the Interface and BGP topology change and flow count spike. </a:t>
            </a:r>
            <a:r>
              <a:rPr lang="en-US" sz="1200" b="1" dirty="0">
                <a:solidFill>
                  <a:srgbClr val="FF0000"/>
                </a:solidFill>
              </a:rPr>
              <a:t>Why BGP topology changes were not identified needs to be investigated.</a:t>
            </a: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609B7BD8-8C5C-4869-87BD-E33E2C279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4" y="332656"/>
            <a:ext cx="7590863" cy="720000"/>
          </a:xfrm>
        </p:spPr>
        <p:txBody>
          <a:bodyPr>
            <a:normAutofit fontScale="90000"/>
          </a:bodyPr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300" dirty="0">
                <a:solidFill>
                  <a:schemeClr val="bg1">
                    <a:lumMod val="65000"/>
                  </a:schemeClr>
                </a:solidFill>
              </a:rPr>
              <a:t>Use Case 1</a:t>
            </a:r>
            <a:r>
              <a:rPr lang="de-CH" sz="23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300" dirty="0">
                <a:solidFill>
                  <a:schemeClr val="bg1">
                    <a:lumMod val="65000"/>
                  </a:schemeClr>
                </a:solidFill>
              </a:rPr>
              <a:t>– Network Anomaly Detection – </a:t>
            </a:r>
            <a:r>
              <a:rPr lang="en-US" sz="2300" dirty="0">
                <a:solidFill>
                  <a:srgbClr val="FF0000"/>
                </a:solidFill>
              </a:rPr>
              <a:t>Liv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09A4F-505D-4C11-B06B-B7F72528EAF0}"/>
              </a:ext>
            </a:extLst>
          </p:cNvPr>
          <p:cNvSpPr/>
          <p:nvPr/>
        </p:nvSpPr>
        <p:spPr>
          <a:xfrm>
            <a:off x="700364" y="6301946"/>
            <a:ext cx="7227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Anomaly Detection –  8x L3 VPN's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b="1" dirty="0"/>
              <a:t>Concern Score: </a:t>
            </a:r>
            <a:r>
              <a:rPr lang="en-US" sz="1350" b="1" dirty="0">
                <a:solidFill>
                  <a:srgbClr val="FF0000"/>
                </a:solidFill>
              </a:rPr>
              <a:t>0.19</a:t>
            </a:r>
          </a:p>
          <a:p>
            <a:r>
              <a:rPr lang="en-US" sz="1350" dirty="0"/>
              <a:t>Flow Count Spike: </a:t>
            </a:r>
            <a:r>
              <a:rPr lang="en-US" sz="1350" b="1" dirty="0">
                <a:solidFill>
                  <a:srgbClr val="FF0000"/>
                </a:solidFill>
              </a:rPr>
              <a:t>0.07</a:t>
            </a:r>
          </a:p>
          <a:p>
            <a:r>
              <a:rPr lang="en-US" sz="1350" dirty="0"/>
              <a:t>Missing Traffic: </a:t>
            </a:r>
            <a:r>
              <a:rPr lang="en-US" sz="1350" b="1" dirty="0">
                <a:solidFill>
                  <a:srgbClr val="FF0000"/>
                </a:solidFill>
              </a:rPr>
              <a:t>0.26</a:t>
            </a:r>
          </a:p>
          <a:p>
            <a:r>
              <a:rPr lang="en-US" sz="1350" dirty="0"/>
              <a:t>Traffic Drop: </a:t>
            </a:r>
            <a:r>
              <a:rPr lang="en-US" sz="1350" b="1" dirty="0">
                <a:solidFill>
                  <a:srgbClr val="FF0000"/>
                </a:solidFill>
              </a:rPr>
              <a:t>0.00</a:t>
            </a:r>
          </a:p>
          <a:p>
            <a:r>
              <a:rPr lang="en-US" sz="1350" dirty="0"/>
              <a:t>BMP Peer/Interface Down: </a:t>
            </a:r>
            <a:r>
              <a:rPr lang="en-US" sz="1350" b="1" dirty="0">
                <a:solidFill>
                  <a:srgbClr val="FF0000"/>
                </a:solidFill>
              </a:rPr>
              <a:t>0.91/0.99</a:t>
            </a:r>
            <a:br>
              <a:rPr lang="en-US" sz="1350" dirty="0"/>
            </a:br>
            <a:r>
              <a:rPr lang="en-US" sz="1350" dirty="0"/>
              <a:t>BMP Update/Withdrawal: </a:t>
            </a:r>
            <a:r>
              <a:rPr lang="en-US" sz="1350" b="1" dirty="0">
                <a:solidFill>
                  <a:srgbClr val="FF0000"/>
                </a:solidFill>
              </a:rPr>
              <a:t>0.00/0.00</a:t>
            </a:r>
            <a:endParaRPr lang="de-CH" sz="1350" b="1" dirty="0">
              <a:solidFill>
                <a:srgbClr val="FF0000"/>
              </a:solidFill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68324C23-657A-4CAD-F137-1E7D2492D4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1" y="4697709"/>
            <a:ext cx="409069" cy="409069"/>
          </a:xfrm>
          <a:prstGeom prst="rect">
            <a:avLst/>
          </a:prstGeom>
        </p:spPr>
      </p:pic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5343789"/>
            <a:ext cx="409069" cy="409069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A368BC-FF92-5789-89FF-8D9120B9E368}"/>
              </a:ext>
            </a:extLst>
          </p:cNvPr>
          <p:cNvCxnSpPr>
            <a:cxnSpLocks/>
          </p:cNvCxnSpPr>
          <p:nvPr/>
        </p:nvCxnSpPr>
        <p:spPr bwMode="gray">
          <a:xfrm>
            <a:off x="5028315" y="1565140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229F9F-AB93-103F-7A95-108098C4A47D}"/>
              </a:ext>
            </a:extLst>
          </p:cNvPr>
          <p:cNvCxnSpPr>
            <a:cxnSpLocks/>
          </p:cNvCxnSpPr>
          <p:nvPr/>
        </p:nvCxnSpPr>
        <p:spPr bwMode="gray">
          <a:xfrm>
            <a:off x="4659684" y="1565140"/>
            <a:ext cx="0" cy="445416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8">
            <a:extLst>
              <a:ext uri="{FF2B5EF4-FFF2-40B4-BE49-F238E27FC236}">
                <a16:creationId xmlns:a16="http://schemas.microsoft.com/office/drawing/2014/main" id="{4760E189-4F8E-D099-1DEC-20B5D7680F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0485" y="2337665"/>
            <a:ext cx="409069" cy="409069"/>
          </a:xfrm>
          <a:prstGeom prst="rect">
            <a:avLst/>
          </a:prstGeom>
        </p:spPr>
      </p:pic>
      <p:pic>
        <p:nvPicPr>
          <p:cNvPr id="32" name="Grafik 8">
            <a:extLst>
              <a:ext uri="{FF2B5EF4-FFF2-40B4-BE49-F238E27FC236}">
                <a16:creationId xmlns:a16="http://schemas.microsoft.com/office/drawing/2014/main" id="{0CC6F581-A7FF-5545-93BC-7E9313A85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0485" y="2996480"/>
            <a:ext cx="409069" cy="409069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865A80A5-4A1F-B7CD-31FC-1CB19E6855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75799" y="3524168"/>
            <a:ext cx="410400" cy="410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8A3CE89-594A-EC18-4E20-99A2036518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2427" y="1665675"/>
            <a:ext cx="525183" cy="52518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459D1556-D976-6A56-5C07-06E2761822D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76783" y="4009200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731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5DEAC36-58B4-4159-970B-26A6D9DB29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224" y="1147158"/>
            <a:ext cx="6116227" cy="341174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8FF9B0DE-3FEB-4AA0-B465-B80EF7C1333D}" type="slidenum">
              <a:rPr lang="en-US"/>
              <a:pPr/>
              <a:t>9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9452" y="332656"/>
            <a:ext cx="10763947" cy="720000"/>
          </a:xfrm>
        </p:spPr>
        <p:txBody>
          <a:bodyPr/>
          <a:lstStyle/>
          <a:p>
            <a:r>
              <a:rPr lang="en-US" sz="2400" b="1" dirty="0"/>
              <a:t>November 28th, SRv6 Resilience Analysis &amp; Tests in Production</a:t>
            </a:r>
            <a:br>
              <a:rPr lang="en-US" sz="2100" dirty="0"/>
            </a:br>
            <a:r>
              <a:rPr lang="en-US" sz="2100" dirty="0">
                <a:solidFill>
                  <a:schemeClr val="bg1">
                    <a:lumMod val="65000"/>
                  </a:schemeClr>
                </a:solidFill>
              </a:rPr>
              <a:t>Use Case 2 – Inter-AS Option A Interface State Change – </a:t>
            </a:r>
            <a:r>
              <a:rPr lang="en-US" sz="2100" dirty="0">
                <a:solidFill>
                  <a:srgbClr val="FF0000"/>
                </a:solidFill>
              </a:rPr>
              <a:t>Real-Time</a:t>
            </a:r>
            <a:r>
              <a:rPr lang="en-US" sz="2100" dirty="0">
                <a:solidFill>
                  <a:schemeClr val="bg1">
                    <a:lumMod val="65000"/>
                  </a:schemeClr>
                </a:solidFill>
              </a:rPr>
              <a:t> Maintenance Window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242515" y="6467555"/>
            <a:ext cx="865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rational Network Telemetry forwarding plane, YANG-Push, IPFIX, BMP and BGP measured control plane metrics.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8675515" y="1351892"/>
            <a:ext cx="197172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GP topology change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no traffic volume change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6841CA7-ABD0-2888-F00E-28CEFB15E888}"/>
              </a:ext>
            </a:extLst>
          </p:cNvPr>
          <p:cNvSpPr/>
          <p:nvPr/>
        </p:nvSpPr>
        <p:spPr>
          <a:xfrm>
            <a:off x="8727422" y="3165824"/>
            <a:ext cx="20057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no flow count change.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IPFIX and Correlated with BMP Local RIB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</p:cNvCxnSpPr>
          <p:nvPr/>
        </p:nvCxnSpPr>
        <p:spPr bwMode="gray">
          <a:xfrm flipH="1">
            <a:off x="8071920" y="1907251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A1D5693-D3E2-1E03-3605-92CED4C4AD27}"/>
              </a:ext>
            </a:extLst>
          </p:cNvPr>
          <p:cNvCxnSpPr>
            <a:cxnSpLocks/>
          </p:cNvCxnSpPr>
          <p:nvPr/>
        </p:nvCxnSpPr>
        <p:spPr bwMode="gray">
          <a:xfrm flipH="1">
            <a:off x="8121305" y="3731364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CFFDAF-AF40-3767-F4DD-E84CD8DBC445}"/>
              </a:ext>
            </a:extLst>
          </p:cNvPr>
          <p:cNvSpPr/>
          <p:nvPr/>
        </p:nvSpPr>
        <p:spPr>
          <a:xfrm>
            <a:off x="8727422" y="4754508"/>
            <a:ext cx="200572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how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raffic shift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mong Inter-AS Option A ASBR's.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easured with YANG-Push </a:t>
            </a: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penconfig-interface.yang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.</a:t>
            </a:r>
            <a:endParaRPr kumimoji="0" lang="de-CH" sz="135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E97F96-D275-2D42-F325-4315F6B05BE2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0215" y="5423922"/>
            <a:ext cx="4191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9958649-92D1-1431-CD8B-C28DF0FC35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515" y="4558904"/>
            <a:ext cx="6116227" cy="1877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305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69</Words>
  <Application>Microsoft Office PowerPoint</Application>
  <PresentationFormat>Widescreen</PresentationFormat>
  <Paragraphs>317</Paragraphs>
  <Slides>26</Slides>
  <Notes>2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TheSans Swisscom</vt:lpstr>
      <vt:lpstr>TheSans Swisscom Light</vt:lpstr>
      <vt:lpstr>Office Theme</vt:lpstr>
      <vt:lpstr>PowerPoint Presentation</vt:lpstr>
      <vt:lpstr>Data Mesh organizes Data in Organizations Enables Network Analytics use cases</vt:lpstr>
      <vt:lpstr>Monitoring L3 VPN's with IPFIX, BMP and YANG Push From Connectivity Service to Realtime Network Analytics</vt:lpstr>
      <vt:lpstr>SRv6 Resilience Analysis &amp; Tests in Production SRv6 Blackholing</vt:lpstr>
      <vt:lpstr>SRv6 Resilience Analysis &amp; Tests in Production SRv6 Blackholing</vt:lpstr>
      <vt:lpstr>SRv6 Resilience Analysis &amp; Tests in Production L1-3 Topology</vt:lpstr>
      <vt:lpstr>PowerPoint Presentation</vt:lpstr>
      <vt:lpstr>November 28th, SRv6 Resilience Analysis &amp; Tests in Production Use Case 1 – Network Anomaly Detection – Live</vt:lpstr>
      <vt:lpstr>November 28th, SRv6 Resilience Analysis &amp; Tests in Production Use Case 2 – Inter-AS Option A Interface State Change – Real-Time Maintenance Window Analysis</vt:lpstr>
      <vt:lpstr>November 28th, SRv6 Resilience Analysis &amp; Tests in Production Use Case 2 – Network Anomaly Detection – Live</vt:lpstr>
      <vt:lpstr>November 28th, SRv6 Resilience Analysis &amp; Tests in Production Use Case 3 – SRv6 Provider Interface State Change – Real-Time Maintenance Window Analysis</vt:lpstr>
      <vt:lpstr>November 28th, SRv6 Resilience Analysis &amp; Tests in Production Use Case 3 – Network Anomaly Detection – Live</vt:lpstr>
      <vt:lpstr>November 28th, SRv6 Resilience Analysis &amp; Tests in Production Use Case 4 – BGP Process Restart – Real-Time Maintenance Window Analysis</vt:lpstr>
      <vt:lpstr>November 28th, SRv6 Resilience Analysis &amp; Tests in Production Use Case 4 – Network Anomaly Detection – Live</vt:lpstr>
      <vt:lpstr>November 28th, SRv6 Resilience Analysis &amp; Tests in Production Use Case 5– IS-IS Process Restart – Real-Time Maintenance Window Analysis</vt:lpstr>
      <vt:lpstr>November 28th, SRv6 Resilience Analysis &amp; Tests in Production Use Case 5 – Network Anomaly Detection – Live</vt:lpstr>
      <vt:lpstr>November 28th, SRv6 Resilience Analysis &amp; Tests in Production Use Case 6– RSP Failover – Real-Time Maintenance Window Analysis</vt:lpstr>
      <vt:lpstr>November 28th, SRv6 Resilience Analysis &amp; Tests in Production IPv6 next-hop index invalid transmit adjacency drops - Real-Time Maintenance Window Analysis</vt:lpstr>
      <vt:lpstr>November 28th, SRv6 Resilience Analysis &amp; Tests in Production IPFIX does not recognize at ingress the egress drop - Real-Time Maintenance Window Analysis</vt:lpstr>
      <vt:lpstr>November 28th, SRv6 Resilience Analysis &amp; Tests in Production Use Case 6 – Network Anomaly Detection – Live</vt:lpstr>
      <vt:lpstr>November 28th, SRv6 Resilience Analysis &amp; Tests in Production Missing Traffic doesn't have to be always a Network Incident</vt:lpstr>
      <vt:lpstr>November 28th, SRv6 Resilience Analysis &amp; Tests in Production Network Telemetry Packet Analysis at Data Collec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</dc:title>
  <dc:creator>Graf Thomas, INI-ONE-WSN-DCF</dc:creator>
  <cp:lastModifiedBy>Graf Thomas, INI-NET-VNC-E2E</cp:lastModifiedBy>
  <cp:revision>283</cp:revision>
  <dcterms:created xsi:type="dcterms:W3CDTF">2019-11-29T14:22:02Z</dcterms:created>
  <dcterms:modified xsi:type="dcterms:W3CDTF">2025-03-01T12:1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1fccfb-80ca-4fe1-a574-1516544edb53_Enabled">
    <vt:lpwstr>true</vt:lpwstr>
  </property>
  <property fmtid="{D5CDD505-2E9C-101B-9397-08002B2CF9AE}" pid="3" name="MSIP_Label_2e1fccfb-80ca-4fe1-a574-1516544edb53_SetDate">
    <vt:lpwstr>2023-03-20T10:46:29Z</vt:lpwstr>
  </property>
  <property fmtid="{D5CDD505-2E9C-101B-9397-08002B2CF9AE}" pid="4" name="MSIP_Label_2e1fccfb-80ca-4fe1-a574-1516544edb53_Method">
    <vt:lpwstr>Standard</vt:lpwstr>
  </property>
  <property fmtid="{D5CDD505-2E9C-101B-9397-08002B2CF9AE}" pid="5" name="MSIP_Label_2e1fccfb-80ca-4fe1-a574-1516544edb53_Name">
    <vt:lpwstr>C2 Internal</vt:lpwstr>
  </property>
  <property fmtid="{D5CDD505-2E9C-101B-9397-08002B2CF9AE}" pid="6" name="MSIP_Label_2e1fccfb-80ca-4fe1-a574-1516544edb53_SiteId">
    <vt:lpwstr>364e5b87-c1c7-420d-9bee-c35d19b557a1</vt:lpwstr>
  </property>
  <property fmtid="{D5CDD505-2E9C-101B-9397-08002B2CF9AE}" pid="7" name="MSIP_Label_2e1fccfb-80ca-4fe1-a574-1516544edb53_ActionId">
    <vt:lpwstr>f20e7325-fc30-45a7-a02f-991797c0d813</vt:lpwstr>
  </property>
  <property fmtid="{D5CDD505-2E9C-101B-9397-08002B2CF9AE}" pid="8" name="MSIP_Label_2e1fccfb-80ca-4fe1-a574-1516544edb53_ContentBits">
    <vt:lpwstr>0</vt:lpwstr>
  </property>
  <property fmtid="{D5CDD505-2E9C-101B-9397-08002B2CF9AE}" pid="9" name="Sensitivity">
    <vt:lpwstr>C2 General</vt:lpwstr>
  </property>
</Properties>
</file>